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7" r:id="rId2"/>
    <p:sldId id="1073" r:id="rId3"/>
    <p:sldId id="1464" r:id="rId4"/>
    <p:sldId id="1084" r:id="rId5"/>
    <p:sldId id="1088" r:id="rId6"/>
    <p:sldId id="1504" r:id="rId7"/>
    <p:sldId id="1465" r:id="rId8"/>
    <p:sldId id="260" r:id="rId9"/>
    <p:sldId id="1101" r:id="rId10"/>
    <p:sldId id="1466" r:id="rId11"/>
    <p:sldId id="1090" r:id="rId12"/>
    <p:sldId id="1091" r:id="rId13"/>
    <p:sldId id="1092" r:id="rId14"/>
    <p:sldId id="1080" r:id="rId15"/>
    <p:sldId id="1468" r:id="rId16"/>
    <p:sldId id="1044" r:id="rId17"/>
    <p:sldId id="1095" r:id="rId18"/>
    <p:sldId id="1045" r:id="rId19"/>
    <p:sldId id="1038" r:id="rId20"/>
    <p:sldId id="1097" r:id="rId21"/>
    <p:sldId id="281" r:id="rId22"/>
    <p:sldId id="1473" r:id="rId23"/>
    <p:sldId id="1076" r:id="rId24"/>
    <p:sldId id="1059" r:id="rId25"/>
    <p:sldId id="1036" r:id="rId26"/>
    <p:sldId id="1474" r:id="rId27"/>
    <p:sldId id="1086" r:id="rId28"/>
    <p:sldId id="1475" r:id="rId29"/>
    <p:sldId id="1087" r:id="rId30"/>
    <p:sldId id="1043" r:id="rId31"/>
    <p:sldId id="1469" r:id="rId32"/>
    <p:sldId id="1470" r:id="rId33"/>
    <p:sldId id="1471" r:id="rId34"/>
    <p:sldId id="1089" r:id="rId35"/>
  </p:sldIdLst>
  <p:sldSz cx="9144000" cy="5143500" type="screen16x9"/>
  <p:notesSz cx="6858000" cy="9144000"/>
  <p:custDataLst>
    <p:tags r:id="rId3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72B9"/>
    <a:srgbClr val="F15922"/>
    <a:srgbClr val="E6E616"/>
    <a:srgbClr val="F69977"/>
    <a:srgbClr val="0952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59"/>
    <p:restoredTop sz="94781"/>
  </p:normalViewPr>
  <p:slideViewPr>
    <p:cSldViewPr snapToGrid="0">
      <p:cViewPr varScale="1">
        <p:scale>
          <a:sx n="140" d="100"/>
          <a:sy n="140" d="100"/>
        </p:scale>
        <p:origin x="450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160060\OneDrive%20-%20PPL%20Corporation\T-Planning\Dynamic%20Line%20Rating\Inservice%20data\SUSQ-HARW%20actual%20vs%20simulation%20win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962916803233644E-2"/>
          <c:y val="9.6139406177548417E-2"/>
          <c:w val="0.88441606961291996"/>
          <c:h val="0.63654079839883826"/>
        </c:manualLayout>
      </c:layout>
      <c:lineChart>
        <c:grouping val="standard"/>
        <c:varyColors val="0"/>
        <c:ser>
          <c:idx val="0"/>
          <c:order val="0"/>
          <c:tx>
            <c:strRef>
              <c:f>'[SUSQ-HARW actual vs simulation winter.xlsx]Compare'!$A$1</c:f>
              <c:strCache>
                <c:ptCount val="1"/>
                <c:pt idx="0">
                  <c:v>Actual DLR Ga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[SUSQ-HARW actual vs simulation winter.xlsx]Compare'!$A$2:$A$2952</c:f>
              <c:numCache>
                <c:formatCode>General</c:formatCode>
                <c:ptCount val="2951"/>
                <c:pt idx="0">
                  <c:v>220.9886474609375</c:v>
                </c:pt>
                <c:pt idx="1">
                  <c:v>220.9886474609375</c:v>
                </c:pt>
                <c:pt idx="2">
                  <c:v>220.9886474609375</c:v>
                </c:pt>
                <c:pt idx="3">
                  <c:v>220.9886474609375</c:v>
                </c:pt>
                <c:pt idx="4">
                  <c:v>220.9886474609375</c:v>
                </c:pt>
                <c:pt idx="5">
                  <c:v>220.9886474609375</c:v>
                </c:pt>
                <c:pt idx="6">
                  <c:v>220.9886474609375</c:v>
                </c:pt>
                <c:pt idx="7">
                  <c:v>220.9886474609375</c:v>
                </c:pt>
                <c:pt idx="8">
                  <c:v>220.9886474609375</c:v>
                </c:pt>
                <c:pt idx="9">
                  <c:v>220.9886474609375</c:v>
                </c:pt>
                <c:pt idx="10">
                  <c:v>220.9886474609375</c:v>
                </c:pt>
                <c:pt idx="11">
                  <c:v>220.9886474609375</c:v>
                </c:pt>
                <c:pt idx="12">
                  <c:v>220.9886474609375</c:v>
                </c:pt>
                <c:pt idx="13">
                  <c:v>220.9886474609375</c:v>
                </c:pt>
                <c:pt idx="14">
                  <c:v>220.9886474609375</c:v>
                </c:pt>
                <c:pt idx="15">
                  <c:v>220.9886474609375</c:v>
                </c:pt>
                <c:pt idx="16">
                  <c:v>220.9886474609375</c:v>
                </c:pt>
                <c:pt idx="17">
                  <c:v>220.9886474609375</c:v>
                </c:pt>
                <c:pt idx="18">
                  <c:v>220.9886474609375</c:v>
                </c:pt>
                <c:pt idx="19">
                  <c:v>220.9886474609375</c:v>
                </c:pt>
                <c:pt idx="20">
                  <c:v>220.9886474609375</c:v>
                </c:pt>
                <c:pt idx="21">
                  <c:v>220.9886474609375</c:v>
                </c:pt>
                <c:pt idx="22">
                  <c:v>220.9886474609375</c:v>
                </c:pt>
                <c:pt idx="23">
                  <c:v>220.9886474609375</c:v>
                </c:pt>
                <c:pt idx="24">
                  <c:v>220.9886474609375</c:v>
                </c:pt>
                <c:pt idx="25">
                  <c:v>220.9886474609375</c:v>
                </c:pt>
                <c:pt idx="26">
                  <c:v>220.9886474609375</c:v>
                </c:pt>
                <c:pt idx="27">
                  <c:v>220.9886474609375</c:v>
                </c:pt>
                <c:pt idx="28">
                  <c:v>220.9886474609375</c:v>
                </c:pt>
                <c:pt idx="29">
                  <c:v>220.9886474609375</c:v>
                </c:pt>
                <c:pt idx="30">
                  <c:v>220.9886474609375</c:v>
                </c:pt>
                <c:pt idx="31">
                  <c:v>220.9886474609375</c:v>
                </c:pt>
                <c:pt idx="32">
                  <c:v>220.9886474609375</c:v>
                </c:pt>
                <c:pt idx="33">
                  <c:v>220.9886474609375</c:v>
                </c:pt>
                <c:pt idx="34">
                  <c:v>220.9886474609375</c:v>
                </c:pt>
                <c:pt idx="35">
                  <c:v>220.9886474609375</c:v>
                </c:pt>
                <c:pt idx="36">
                  <c:v>220.9886474609375</c:v>
                </c:pt>
                <c:pt idx="37">
                  <c:v>220.9886474609375</c:v>
                </c:pt>
                <c:pt idx="38">
                  <c:v>220.9886474609375</c:v>
                </c:pt>
                <c:pt idx="39">
                  <c:v>220.9886474609375</c:v>
                </c:pt>
                <c:pt idx="40">
                  <c:v>220.9886474609375</c:v>
                </c:pt>
                <c:pt idx="41">
                  <c:v>220.9886474609375</c:v>
                </c:pt>
                <c:pt idx="42">
                  <c:v>220.9886474609375</c:v>
                </c:pt>
                <c:pt idx="43">
                  <c:v>220.9886474609375</c:v>
                </c:pt>
                <c:pt idx="44">
                  <c:v>220.9886474609375</c:v>
                </c:pt>
                <c:pt idx="45">
                  <c:v>220.9886474609375</c:v>
                </c:pt>
                <c:pt idx="46">
                  <c:v>220.9886474609375</c:v>
                </c:pt>
                <c:pt idx="47">
                  <c:v>220.9886474609375</c:v>
                </c:pt>
                <c:pt idx="48">
                  <c:v>220.9886474609375</c:v>
                </c:pt>
                <c:pt idx="49">
                  <c:v>220.9886474609375</c:v>
                </c:pt>
                <c:pt idx="50">
                  <c:v>220.9886474609375</c:v>
                </c:pt>
                <c:pt idx="51">
                  <c:v>220.9886474609375</c:v>
                </c:pt>
                <c:pt idx="52">
                  <c:v>220.9886474609375</c:v>
                </c:pt>
                <c:pt idx="53">
                  <c:v>220.9886474609375</c:v>
                </c:pt>
                <c:pt idx="54">
                  <c:v>220.9886474609375</c:v>
                </c:pt>
                <c:pt idx="55">
                  <c:v>220.9886474609375</c:v>
                </c:pt>
                <c:pt idx="56">
                  <c:v>220.9886474609375</c:v>
                </c:pt>
                <c:pt idx="57">
                  <c:v>220.9886474609375</c:v>
                </c:pt>
                <c:pt idx="58">
                  <c:v>220.9886474609375</c:v>
                </c:pt>
                <c:pt idx="59">
                  <c:v>220.9886474609375</c:v>
                </c:pt>
                <c:pt idx="60">
                  <c:v>220.9886474609375</c:v>
                </c:pt>
                <c:pt idx="61">
                  <c:v>220.9886474609375</c:v>
                </c:pt>
                <c:pt idx="62">
                  <c:v>220.9886474609375</c:v>
                </c:pt>
                <c:pt idx="63">
                  <c:v>220.9886474609375</c:v>
                </c:pt>
                <c:pt idx="64">
                  <c:v>220.9886474609375</c:v>
                </c:pt>
                <c:pt idx="65">
                  <c:v>220.9886474609375</c:v>
                </c:pt>
                <c:pt idx="66">
                  <c:v>220.9886474609375</c:v>
                </c:pt>
                <c:pt idx="67">
                  <c:v>220.9886474609375</c:v>
                </c:pt>
                <c:pt idx="68">
                  <c:v>220.9886474609375</c:v>
                </c:pt>
                <c:pt idx="69">
                  <c:v>220.9886474609375</c:v>
                </c:pt>
                <c:pt idx="70">
                  <c:v>220.9886474609375</c:v>
                </c:pt>
                <c:pt idx="71">
                  <c:v>220.9886474609375</c:v>
                </c:pt>
                <c:pt idx="72">
                  <c:v>220.9886474609375</c:v>
                </c:pt>
                <c:pt idx="73">
                  <c:v>220.9886474609375</c:v>
                </c:pt>
                <c:pt idx="74">
                  <c:v>220.9886474609375</c:v>
                </c:pt>
                <c:pt idx="75">
                  <c:v>220.9886474609375</c:v>
                </c:pt>
                <c:pt idx="76">
                  <c:v>220.9886474609375</c:v>
                </c:pt>
                <c:pt idx="77">
                  <c:v>220.9886474609375</c:v>
                </c:pt>
                <c:pt idx="78">
                  <c:v>220.9886474609375</c:v>
                </c:pt>
                <c:pt idx="79">
                  <c:v>220.9886474609375</c:v>
                </c:pt>
                <c:pt idx="80">
                  <c:v>220.9886474609375</c:v>
                </c:pt>
                <c:pt idx="81">
                  <c:v>220.9886474609375</c:v>
                </c:pt>
                <c:pt idx="82">
                  <c:v>220.9886474609375</c:v>
                </c:pt>
                <c:pt idx="83">
                  <c:v>220.98208200073236</c:v>
                </c:pt>
                <c:pt idx="84">
                  <c:v>220.98031418411824</c:v>
                </c:pt>
                <c:pt idx="85">
                  <c:v>220.97604703549985</c:v>
                </c:pt>
                <c:pt idx="86">
                  <c:v>220.97331347041654</c:v>
                </c:pt>
                <c:pt idx="87">
                  <c:v>220.91917209399207</c:v>
                </c:pt>
                <c:pt idx="88">
                  <c:v>220.90627568562832</c:v>
                </c:pt>
                <c:pt idx="89">
                  <c:v>220.86897557576503</c:v>
                </c:pt>
                <c:pt idx="90">
                  <c:v>220.82619390774562</c:v>
                </c:pt>
                <c:pt idx="91">
                  <c:v>220.78818725585938</c:v>
                </c:pt>
                <c:pt idx="92">
                  <c:v>220.75029271443691</c:v>
                </c:pt>
                <c:pt idx="93">
                  <c:v>220.73321572149894</c:v>
                </c:pt>
                <c:pt idx="94">
                  <c:v>220.72249356549787</c:v>
                </c:pt>
                <c:pt idx="95">
                  <c:v>220.64023753525225</c:v>
                </c:pt>
                <c:pt idx="96">
                  <c:v>220.51292699178066</c:v>
                </c:pt>
                <c:pt idx="97">
                  <c:v>220.44931892995294</c:v>
                </c:pt>
                <c:pt idx="98">
                  <c:v>220.44804585774739</c:v>
                </c:pt>
                <c:pt idx="99">
                  <c:v>220.40684509629818</c:v>
                </c:pt>
                <c:pt idx="100">
                  <c:v>220.39424413045253</c:v>
                </c:pt>
                <c:pt idx="101">
                  <c:v>220.34812346779927</c:v>
                </c:pt>
                <c:pt idx="102">
                  <c:v>220.2901378732397</c:v>
                </c:pt>
                <c:pt idx="103">
                  <c:v>220.27556126912441</c:v>
                </c:pt>
                <c:pt idx="104">
                  <c:v>220.21635945638025</c:v>
                </c:pt>
                <c:pt idx="105">
                  <c:v>220.21099429660376</c:v>
                </c:pt>
                <c:pt idx="106">
                  <c:v>220.15687840779628</c:v>
                </c:pt>
                <c:pt idx="107">
                  <c:v>220.14825876257351</c:v>
                </c:pt>
                <c:pt idx="108">
                  <c:v>220.09645792643232</c:v>
                </c:pt>
                <c:pt idx="109">
                  <c:v>219.96924421522351</c:v>
                </c:pt>
                <c:pt idx="110">
                  <c:v>219.83021545410156</c:v>
                </c:pt>
                <c:pt idx="111">
                  <c:v>219.83021545410156</c:v>
                </c:pt>
                <c:pt idx="112">
                  <c:v>219.7895227220323</c:v>
                </c:pt>
                <c:pt idx="113">
                  <c:v>219.77461700439449</c:v>
                </c:pt>
                <c:pt idx="114">
                  <c:v>219.70592296346035</c:v>
                </c:pt>
                <c:pt idx="115">
                  <c:v>219.65840657552076</c:v>
                </c:pt>
                <c:pt idx="116">
                  <c:v>219.65645065307615</c:v>
                </c:pt>
                <c:pt idx="117">
                  <c:v>219.50588125546778</c:v>
                </c:pt>
                <c:pt idx="118">
                  <c:v>219.49872300889751</c:v>
                </c:pt>
                <c:pt idx="119">
                  <c:v>219.39093537996609</c:v>
                </c:pt>
                <c:pt idx="120">
                  <c:v>219.35378943549267</c:v>
                </c:pt>
                <c:pt idx="121">
                  <c:v>219.34385458416409</c:v>
                </c:pt>
                <c:pt idx="122">
                  <c:v>219.32179469738981</c:v>
                </c:pt>
                <c:pt idx="123">
                  <c:v>219.26307771470806</c:v>
                </c:pt>
                <c:pt idx="124">
                  <c:v>219.14270104302295</c:v>
                </c:pt>
                <c:pt idx="125">
                  <c:v>219.05388667271723</c:v>
                </c:pt>
                <c:pt idx="126">
                  <c:v>218.92973986839388</c:v>
                </c:pt>
                <c:pt idx="127">
                  <c:v>218.79830805460608</c:v>
                </c:pt>
                <c:pt idx="128">
                  <c:v>218.69918195936407</c:v>
                </c:pt>
                <c:pt idx="129">
                  <c:v>218.48255432976612</c:v>
                </c:pt>
                <c:pt idx="130">
                  <c:v>218.42555830213757</c:v>
                </c:pt>
                <c:pt idx="131">
                  <c:v>218.26868158976242</c:v>
                </c:pt>
                <c:pt idx="132">
                  <c:v>218.00605731540247</c:v>
                </c:pt>
                <c:pt idx="133">
                  <c:v>217.97166584608294</c:v>
                </c:pt>
                <c:pt idx="134">
                  <c:v>217.59273656256653</c:v>
                </c:pt>
                <c:pt idx="135">
                  <c:v>217.44128621419281</c:v>
                </c:pt>
                <c:pt idx="136">
                  <c:v>217.3751780192058</c:v>
                </c:pt>
                <c:pt idx="137">
                  <c:v>217.32430606418188</c:v>
                </c:pt>
                <c:pt idx="138">
                  <c:v>217.30925454033752</c:v>
                </c:pt>
                <c:pt idx="139">
                  <c:v>217.23118226793076</c:v>
                </c:pt>
                <c:pt idx="140">
                  <c:v>217.11170261795291</c:v>
                </c:pt>
                <c:pt idx="141">
                  <c:v>216.86977750990138</c:v>
                </c:pt>
                <c:pt idx="142">
                  <c:v>216.25064239501955</c:v>
                </c:pt>
                <c:pt idx="143">
                  <c:v>215.56970833672415</c:v>
                </c:pt>
                <c:pt idx="144">
                  <c:v>215.21189778645839</c:v>
                </c:pt>
                <c:pt idx="145">
                  <c:v>214.87603598700628</c:v>
                </c:pt>
                <c:pt idx="146">
                  <c:v>214.54804484049487</c:v>
                </c:pt>
                <c:pt idx="147">
                  <c:v>214.54002634684241</c:v>
                </c:pt>
                <c:pt idx="148">
                  <c:v>214.43140496147998</c:v>
                </c:pt>
                <c:pt idx="149">
                  <c:v>214.41423229641396</c:v>
                </c:pt>
                <c:pt idx="150">
                  <c:v>214.40202882554797</c:v>
                </c:pt>
                <c:pt idx="151">
                  <c:v>214.19898346037087</c:v>
                </c:pt>
                <c:pt idx="152">
                  <c:v>214.12541436937113</c:v>
                </c:pt>
                <c:pt idx="153">
                  <c:v>213.97540283203125</c:v>
                </c:pt>
                <c:pt idx="154">
                  <c:v>213.97540283203125</c:v>
                </c:pt>
                <c:pt idx="155">
                  <c:v>213.97540283203125</c:v>
                </c:pt>
                <c:pt idx="156">
                  <c:v>213.97540283203125</c:v>
                </c:pt>
                <c:pt idx="157">
                  <c:v>213.97540283203125</c:v>
                </c:pt>
                <c:pt idx="158">
                  <c:v>213.97540283203125</c:v>
                </c:pt>
                <c:pt idx="159">
                  <c:v>213.97540283203125</c:v>
                </c:pt>
                <c:pt idx="160">
                  <c:v>213.97540283203125</c:v>
                </c:pt>
                <c:pt idx="161">
                  <c:v>213.97540283203125</c:v>
                </c:pt>
                <c:pt idx="162">
                  <c:v>213.97540283203125</c:v>
                </c:pt>
                <c:pt idx="163">
                  <c:v>213.97540283203125</c:v>
                </c:pt>
                <c:pt idx="164">
                  <c:v>213.97540283203125</c:v>
                </c:pt>
                <c:pt idx="165">
                  <c:v>213.97540283203125</c:v>
                </c:pt>
                <c:pt idx="166">
                  <c:v>213.97540283203125</c:v>
                </c:pt>
                <c:pt idx="167">
                  <c:v>213.97540283203125</c:v>
                </c:pt>
                <c:pt idx="168">
                  <c:v>213.97540283203125</c:v>
                </c:pt>
                <c:pt idx="169">
                  <c:v>213.97540283203125</c:v>
                </c:pt>
                <c:pt idx="170">
                  <c:v>213.97540283203125</c:v>
                </c:pt>
                <c:pt idx="171">
                  <c:v>213.97540283203125</c:v>
                </c:pt>
                <c:pt idx="172">
                  <c:v>213.97540283203125</c:v>
                </c:pt>
                <c:pt idx="173">
                  <c:v>213.97540283203125</c:v>
                </c:pt>
                <c:pt idx="174">
                  <c:v>213.97540283203125</c:v>
                </c:pt>
                <c:pt idx="175">
                  <c:v>213.97540283203125</c:v>
                </c:pt>
                <c:pt idx="176">
                  <c:v>213.97540283203125</c:v>
                </c:pt>
                <c:pt idx="177">
                  <c:v>213.97540283203125</c:v>
                </c:pt>
                <c:pt idx="178">
                  <c:v>213.97540283203125</c:v>
                </c:pt>
                <c:pt idx="179">
                  <c:v>213.97540283203125</c:v>
                </c:pt>
                <c:pt idx="180">
                  <c:v>213.97540283203125</c:v>
                </c:pt>
                <c:pt idx="181">
                  <c:v>213.97540283203125</c:v>
                </c:pt>
                <c:pt idx="182">
                  <c:v>213.97540283203125</c:v>
                </c:pt>
                <c:pt idx="183">
                  <c:v>213.97540283203125</c:v>
                </c:pt>
                <c:pt idx="184">
                  <c:v>213.97540283203125</c:v>
                </c:pt>
                <c:pt idx="185">
                  <c:v>213.97540283203125</c:v>
                </c:pt>
                <c:pt idx="186">
                  <c:v>213.97540283203125</c:v>
                </c:pt>
                <c:pt idx="187">
                  <c:v>213.97540283203125</c:v>
                </c:pt>
                <c:pt idx="188">
                  <c:v>213.97540283203125</c:v>
                </c:pt>
                <c:pt idx="189">
                  <c:v>213.97540283203125</c:v>
                </c:pt>
                <c:pt idx="190">
                  <c:v>213.97540283203125</c:v>
                </c:pt>
                <c:pt idx="191">
                  <c:v>213.97540283203125</c:v>
                </c:pt>
                <c:pt idx="192">
                  <c:v>213.97540283203125</c:v>
                </c:pt>
                <c:pt idx="193">
                  <c:v>213.97540283203125</c:v>
                </c:pt>
                <c:pt idx="194">
                  <c:v>213.97540283203125</c:v>
                </c:pt>
                <c:pt idx="195">
                  <c:v>213.97540283203125</c:v>
                </c:pt>
                <c:pt idx="196">
                  <c:v>213.97540283203125</c:v>
                </c:pt>
                <c:pt idx="197">
                  <c:v>213.97540283203125</c:v>
                </c:pt>
                <c:pt idx="198">
                  <c:v>213.97540283203125</c:v>
                </c:pt>
                <c:pt idx="199">
                  <c:v>213.97540283203125</c:v>
                </c:pt>
                <c:pt idx="200">
                  <c:v>213.97540283203125</c:v>
                </c:pt>
                <c:pt idx="201">
                  <c:v>213.97540283203125</c:v>
                </c:pt>
                <c:pt idx="202">
                  <c:v>213.97540283203125</c:v>
                </c:pt>
                <c:pt idx="203">
                  <c:v>213.97540283203125</c:v>
                </c:pt>
                <c:pt idx="204">
                  <c:v>213.97540283203125</c:v>
                </c:pt>
                <c:pt idx="205">
                  <c:v>213.97540283203125</c:v>
                </c:pt>
                <c:pt idx="206">
                  <c:v>213.96546952989377</c:v>
                </c:pt>
                <c:pt idx="207">
                  <c:v>213.9566213118585</c:v>
                </c:pt>
                <c:pt idx="208">
                  <c:v>213.95492436379436</c:v>
                </c:pt>
                <c:pt idx="209">
                  <c:v>213.9173108507066</c:v>
                </c:pt>
                <c:pt idx="210">
                  <c:v>213.91594144314683</c:v>
                </c:pt>
                <c:pt idx="211">
                  <c:v>213.88385366051443</c:v>
                </c:pt>
                <c:pt idx="212">
                  <c:v>213.88015766143803</c:v>
                </c:pt>
                <c:pt idx="213">
                  <c:v>213.86660046047632</c:v>
                </c:pt>
                <c:pt idx="214">
                  <c:v>213.8636850007465</c:v>
                </c:pt>
                <c:pt idx="215">
                  <c:v>213.86275700160422</c:v>
                </c:pt>
                <c:pt idx="216">
                  <c:v>213.84208382453062</c:v>
                </c:pt>
                <c:pt idx="217">
                  <c:v>213.81608803251856</c:v>
                </c:pt>
                <c:pt idx="218">
                  <c:v>213.80447031144286</c:v>
                </c:pt>
                <c:pt idx="219">
                  <c:v>213.76785083758114</c:v>
                </c:pt>
                <c:pt idx="220">
                  <c:v>213.76685679835509</c:v>
                </c:pt>
                <c:pt idx="221">
                  <c:v>213.74300878125814</c:v>
                </c:pt>
                <c:pt idx="222">
                  <c:v>213.70020835281264</c:v>
                </c:pt>
                <c:pt idx="223">
                  <c:v>213.69754923502614</c:v>
                </c:pt>
                <c:pt idx="224">
                  <c:v>213.68829246803568</c:v>
                </c:pt>
                <c:pt idx="225">
                  <c:v>213.66661833869091</c:v>
                </c:pt>
                <c:pt idx="226">
                  <c:v>213.65612140231667</c:v>
                </c:pt>
                <c:pt idx="227">
                  <c:v>213.64570718952393</c:v>
                </c:pt>
                <c:pt idx="228">
                  <c:v>213.60216390200185</c:v>
                </c:pt>
                <c:pt idx="229">
                  <c:v>213.55937872992627</c:v>
                </c:pt>
                <c:pt idx="230">
                  <c:v>213.55874040391711</c:v>
                </c:pt>
                <c:pt idx="231">
                  <c:v>213.45587360919171</c:v>
                </c:pt>
                <c:pt idx="232">
                  <c:v>213.45229458279073</c:v>
                </c:pt>
                <c:pt idx="233">
                  <c:v>213.37538781023886</c:v>
                </c:pt>
                <c:pt idx="234">
                  <c:v>213.36026570828005</c:v>
                </c:pt>
                <c:pt idx="235">
                  <c:v>213.35779782512145</c:v>
                </c:pt>
                <c:pt idx="236">
                  <c:v>213.35040918985999</c:v>
                </c:pt>
                <c:pt idx="237">
                  <c:v>213.35040918985999</c:v>
                </c:pt>
                <c:pt idx="238">
                  <c:v>213.20536592271594</c:v>
                </c:pt>
                <c:pt idx="239">
                  <c:v>213.14207797580298</c:v>
                </c:pt>
                <c:pt idx="240">
                  <c:v>213.14207797580298</c:v>
                </c:pt>
                <c:pt idx="241">
                  <c:v>212.93627435472285</c:v>
                </c:pt>
                <c:pt idx="242">
                  <c:v>212.85719807942701</c:v>
                </c:pt>
                <c:pt idx="243">
                  <c:v>212.65884504921883</c:v>
                </c:pt>
                <c:pt idx="244">
                  <c:v>212.65326817830407</c:v>
                </c:pt>
                <c:pt idx="245">
                  <c:v>212.57168282402881</c:v>
                </c:pt>
                <c:pt idx="246">
                  <c:v>212.52466413357365</c:v>
                </c:pt>
                <c:pt idx="247">
                  <c:v>212.52241632833784</c:v>
                </c:pt>
                <c:pt idx="248">
                  <c:v>212.4213788392193</c:v>
                </c:pt>
                <c:pt idx="249">
                  <c:v>212.39947340223534</c:v>
                </c:pt>
                <c:pt idx="250">
                  <c:v>212.36091089068668</c:v>
                </c:pt>
                <c:pt idx="251">
                  <c:v>212.32346822932686</c:v>
                </c:pt>
                <c:pt idx="252">
                  <c:v>212.21452779659307</c:v>
                </c:pt>
                <c:pt idx="253">
                  <c:v>212.16462748209642</c:v>
                </c:pt>
                <c:pt idx="254">
                  <c:v>212.11775936550566</c:v>
                </c:pt>
                <c:pt idx="255">
                  <c:v>212.09724447246776</c:v>
                </c:pt>
                <c:pt idx="256">
                  <c:v>211.94288781483965</c:v>
                </c:pt>
                <c:pt idx="257">
                  <c:v>211.90043945312505</c:v>
                </c:pt>
                <c:pt idx="258">
                  <c:v>211.82483800252282</c:v>
                </c:pt>
                <c:pt idx="259">
                  <c:v>211.80420354351031</c:v>
                </c:pt>
                <c:pt idx="260">
                  <c:v>211.78302770543996</c:v>
                </c:pt>
                <c:pt idx="261">
                  <c:v>211.75105879041894</c:v>
                </c:pt>
                <c:pt idx="262">
                  <c:v>211.60037816365559</c:v>
                </c:pt>
                <c:pt idx="263">
                  <c:v>211.4478013937628</c:v>
                </c:pt>
                <c:pt idx="264">
                  <c:v>211.4362470912472</c:v>
                </c:pt>
                <c:pt idx="265">
                  <c:v>211.29565734863286</c:v>
                </c:pt>
                <c:pt idx="266">
                  <c:v>211.08922437032061</c:v>
                </c:pt>
                <c:pt idx="267">
                  <c:v>211.07832394768207</c:v>
                </c:pt>
                <c:pt idx="268">
                  <c:v>211.07012939453125</c:v>
                </c:pt>
                <c:pt idx="269">
                  <c:v>211.07012939453125</c:v>
                </c:pt>
                <c:pt idx="270">
                  <c:v>211.07012939453125</c:v>
                </c:pt>
                <c:pt idx="271">
                  <c:v>211.07012939453125</c:v>
                </c:pt>
                <c:pt idx="272">
                  <c:v>211.07012939453125</c:v>
                </c:pt>
                <c:pt idx="273">
                  <c:v>211.07012939453125</c:v>
                </c:pt>
                <c:pt idx="274">
                  <c:v>211.07012939453125</c:v>
                </c:pt>
                <c:pt idx="275">
                  <c:v>211.07012939453125</c:v>
                </c:pt>
                <c:pt idx="276">
                  <c:v>211.07012939453125</c:v>
                </c:pt>
                <c:pt idx="277">
                  <c:v>211.07012939453125</c:v>
                </c:pt>
                <c:pt idx="278">
                  <c:v>211.07012939453125</c:v>
                </c:pt>
                <c:pt idx="279">
                  <c:v>211.07012939453125</c:v>
                </c:pt>
                <c:pt idx="280">
                  <c:v>211.07012939453125</c:v>
                </c:pt>
                <c:pt idx="281">
                  <c:v>211.07012939453125</c:v>
                </c:pt>
                <c:pt idx="282">
                  <c:v>211.07012939453125</c:v>
                </c:pt>
                <c:pt idx="283">
                  <c:v>211.07012939453125</c:v>
                </c:pt>
                <c:pt idx="284">
                  <c:v>211.07012939453125</c:v>
                </c:pt>
                <c:pt idx="285">
                  <c:v>211.07012939453125</c:v>
                </c:pt>
                <c:pt idx="286">
                  <c:v>211.07012939453125</c:v>
                </c:pt>
                <c:pt idx="287">
                  <c:v>211.07012939453125</c:v>
                </c:pt>
                <c:pt idx="288">
                  <c:v>211.07012939453125</c:v>
                </c:pt>
                <c:pt idx="289">
                  <c:v>211.07012939453125</c:v>
                </c:pt>
                <c:pt idx="290">
                  <c:v>211.07012939453125</c:v>
                </c:pt>
                <c:pt idx="291">
                  <c:v>211.07012939453125</c:v>
                </c:pt>
                <c:pt idx="292">
                  <c:v>211.07012939453125</c:v>
                </c:pt>
                <c:pt idx="293">
                  <c:v>211.07012939453125</c:v>
                </c:pt>
                <c:pt idx="294">
                  <c:v>211.07012939453125</c:v>
                </c:pt>
                <c:pt idx="295">
                  <c:v>211.07012939453125</c:v>
                </c:pt>
                <c:pt idx="296">
                  <c:v>211.07012939453125</c:v>
                </c:pt>
                <c:pt idx="297">
                  <c:v>211.07012939453125</c:v>
                </c:pt>
                <c:pt idx="298">
                  <c:v>211.07012939453125</c:v>
                </c:pt>
                <c:pt idx="299">
                  <c:v>211.07012939453125</c:v>
                </c:pt>
                <c:pt idx="300">
                  <c:v>211.07012939453125</c:v>
                </c:pt>
                <c:pt idx="301">
                  <c:v>211.07012939453125</c:v>
                </c:pt>
                <c:pt idx="302">
                  <c:v>211.07012939453125</c:v>
                </c:pt>
                <c:pt idx="303">
                  <c:v>211.07012939453125</c:v>
                </c:pt>
                <c:pt idx="304">
                  <c:v>211.07012939453125</c:v>
                </c:pt>
                <c:pt idx="305">
                  <c:v>211.07012939453125</c:v>
                </c:pt>
                <c:pt idx="306">
                  <c:v>211.07012939453125</c:v>
                </c:pt>
                <c:pt idx="307">
                  <c:v>211.07012939453125</c:v>
                </c:pt>
                <c:pt idx="308">
                  <c:v>211.07012939453125</c:v>
                </c:pt>
                <c:pt idx="309">
                  <c:v>211.07012939453125</c:v>
                </c:pt>
                <c:pt idx="310">
                  <c:v>211.07012939453125</c:v>
                </c:pt>
                <c:pt idx="311">
                  <c:v>211.07012939453125</c:v>
                </c:pt>
                <c:pt idx="312">
                  <c:v>211.07012939453125</c:v>
                </c:pt>
                <c:pt idx="313">
                  <c:v>211.07012939453125</c:v>
                </c:pt>
                <c:pt idx="314">
                  <c:v>211.07012939453125</c:v>
                </c:pt>
                <c:pt idx="315">
                  <c:v>211.07012939453125</c:v>
                </c:pt>
                <c:pt idx="316">
                  <c:v>211.07012939453125</c:v>
                </c:pt>
                <c:pt idx="317">
                  <c:v>211.07012939453125</c:v>
                </c:pt>
                <c:pt idx="318">
                  <c:v>211.07012939453125</c:v>
                </c:pt>
                <c:pt idx="319">
                  <c:v>211.07012939453125</c:v>
                </c:pt>
                <c:pt idx="320">
                  <c:v>211.07012939453125</c:v>
                </c:pt>
                <c:pt idx="321">
                  <c:v>211.07012939453125</c:v>
                </c:pt>
                <c:pt idx="322">
                  <c:v>211.07012939453125</c:v>
                </c:pt>
                <c:pt idx="323">
                  <c:v>211.07012939453125</c:v>
                </c:pt>
                <c:pt idx="324">
                  <c:v>211.07012939453125</c:v>
                </c:pt>
                <c:pt idx="325">
                  <c:v>211.07012939453125</c:v>
                </c:pt>
                <c:pt idx="326">
                  <c:v>211.07012939453125</c:v>
                </c:pt>
                <c:pt idx="327">
                  <c:v>211.07012939453125</c:v>
                </c:pt>
                <c:pt idx="328">
                  <c:v>211.07012939453125</c:v>
                </c:pt>
                <c:pt idx="329">
                  <c:v>211.07012939453125</c:v>
                </c:pt>
                <c:pt idx="330">
                  <c:v>211.07012939453125</c:v>
                </c:pt>
                <c:pt idx="331">
                  <c:v>211.07012939453125</c:v>
                </c:pt>
                <c:pt idx="332">
                  <c:v>211.07012939453125</c:v>
                </c:pt>
                <c:pt idx="333">
                  <c:v>211.07012939453125</c:v>
                </c:pt>
                <c:pt idx="334">
                  <c:v>211.07012939453125</c:v>
                </c:pt>
                <c:pt idx="335">
                  <c:v>211.07012939453125</c:v>
                </c:pt>
                <c:pt idx="336">
                  <c:v>211.07012939453125</c:v>
                </c:pt>
                <c:pt idx="337">
                  <c:v>211.07012939453125</c:v>
                </c:pt>
                <c:pt idx="338">
                  <c:v>211.07012939453125</c:v>
                </c:pt>
                <c:pt idx="339">
                  <c:v>211.07012939453125</c:v>
                </c:pt>
                <c:pt idx="340">
                  <c:v>211.07012939453125</c:v>
                </c:pt>
                <c:pt idx="341">
                  <c:v>211.07012939453125</c:v>
                </c:pt>
                <c:pt idx="342">
                  <c:v>211.07012939453125</c:v>
                </c:pt>
                <c:pt idx="343">
                  <c:v>211.07012939453125</c:v>
                </c:pt>
                <c:pt idx="344">
                  <c:v>211.07012939453125</c:v>
                </c:pt>
                <c:pt idx="345">
                  <c:v>211.07012939453125</c:v>
                </c:pt>
                <c:pt idx="346">
                  <c:v>211.07012939453125</c:v>
                </c:pt>
                <c:pt idx="347">
                  <c:v>211.07012939453125</c:v>
                </c:pt>
                <c:pt idx="348">
                  <c:v>211.07012939453125</c:v>
                </c:pt>
                <c:pt idx="349">
                  <c:v>211.07012939453125</c:v>
                </c:pt>
                <c:pt idx="350">
                  <c:v>211.07012939453125</c:v>
                </c:pt>
                <c:pt idx="351">
                  <c:v>211.07012939453125</c:v>
                </c:pt>
                <c:pt idx="352">
                  <c:v>211.07012939453125</c:v>
                </c:pt>
                <c:pt idx="353">
                  <c:v>211.07012939453125</c:v>
                </c:pt>
                <c:pt idx="354">
                  <c:v>211.07012939453125</c:v>
                </c:pt>
                <c:pt idx="355">
                  <c:v>211.07012939453125</c:v>
                </c:pt>
                <c:pt idx="356">
                  <c:v>211.07012939453125</c:v>
                </c:pt>
                <c:pt idx="357">
                  <c:v>211.07012939453125</c:v>
                </c:pt>
                <c:pt idx="358">
                  <c:v>211.07012939453125</c:v>
                </c:pt>
                <c:pt idx="359">
                  <c:v>211.07012939453125</c:v>
                </c:pt>
                <c:pt idx="360">
                  <c:v>211.07012939453125</c:v>
                </c:pt>
                <c:pt idx="361">
                  <c:v>211.07012939453125</c:v>
                </c:pt>
                <c:pt idx="362">
                  <c:v>211.07012939453125</c:v>
                </c:pt>
                <c:pt idx="363">
                  <c:v>211.07012939453125</c:v>
                </c:pt>
                <c:pt idx="364">
                  <c:v>211.07012939453125</c:v>
                </c:pt>
                <c:pt idx="365">
                  <c:v>211.05568406564225</c:v>
                </c:pt>
                <c:pt idx="366">
                  <c:v>211.03799031463745</c:v>
                </c:pt>
                <c:pt idx="367">
                  <c:v>211.03703340725201</c:v>
                </c:pt>
                <c:pt idx="368">
                  <c:v>211.00068571008978</c:v>
                </c:pt>
                <c:pt idx="369">
                  <c:v>210.98485502671247</c:v>
                </c:pt>
                <c:pt idx="370">
                  <c:v>210.98327116300266</c:v>
                </c:pt>
                <c:pt idx="371">
                  <c:v>210.9195576759621</c:v>
                </c:pt>
                <c:pt idx="372">
                  <c:v>210.90950321903938</c:v>
                </c:pt>
                <c:pt idx="373">
                  <c:v>210.8853098042805</c:v>
                </c:pt>
                <c:pt idx="374">
                  <c:v>210.86920454237202</c:v>
                </c:pt>
                <c:pt idx="375">
                  <c:v>210.85571967230908</c:v>
                </c:pt>
                <c:pt idx="376">
                  <c:v>210.85316023992436</c:v>
                </c:pt>
                <c:pt idx="377">
                  <c:v>210.73568892045455</c:v>
                </c:pt>
                <c:pt idx="378">
                  <c:v>210.63866164643468</c:v>
                </c:pt>
                <c:pt idx="379">
                  <c:v>210.62701914261788</c:v>
                </c:pt>
                <c:pt idx="380">
                  <c:v>210.61858861993869</c:v>
                </c:pt>
                <c:pt idx="381">
                  <c:v>210.53224054972327</c:v>
                </c:pt>
                <c:pt idx="382">
                  <c:v>210.53224054972327</c:v>
                </c:pt>
                <c:pt idx="383">
                  <c:v>210.41968217329531</c:v>
                </c:pt>
                <c:pt idx="384">
                  <c:v>210.21517584482831</c:v>
                </c:pt>
                <c:pt idx="385">
                  <c:v>210.19922909206821</c:v>
                </c:pt>
                <c:pt idx="386">
                  <c:v>210.16047549777545</c:v>
                </c:pt>
                <c:pt idx="387">
                  <c:v>210.11770073253138</c:v>
                </c:pt>
                <c:pt idx="388">
                  <c:v>210.11177775065107</c:v>
                </c:pt>
                <c:pt idx="389">
                  <c:v>210.10367542613631</c:v>
                </c:pt>
                <c:pt idx="390">
                  <c:v>210.0728595309788</c:v>
                </c:pt>
                <c:pt idx="391">
                  <c:v>209.90674387613922</c:v>
                </c:pt>
                <c:pt idx="392">
                  <c:v>209.86598826473016</c:v>
                </c:pt>
                <c:pt idx="393">
                  <c:v>209.77919616699216</c:v>
                </c:pt>
                <c:pt idx="394">
                  <c:v>209.67580253224332</c:v>
                </c:pt>
                <c:pt idx="395">
                  <c:v>209.38556761628524</c:v>
                </c:pt>
                <c:pt idx="396">
                  <c:v>209.36737862292625</c:v>
                </c:pt>
                <c:pt idx="397">
                  <c:v>209.29625218709316</c:v>
                </c:pt>
                <c:pt idx="398">
                  <c:v>209.22605268690313</c:v>
                </c:pt>
                <c:pt idx="399">
                  <c:v>209.21358235677087</c:v>
                </c:pt>
                <c:pt idx="400">
                  <c:v>209.17940825776236</c:v>
                </c:pt>
                <c:pt idx="401">
                  <c:v>209.14308454725483</c:v>
                </c:pt>
                <c:pt idx="402">
                  <c:v>209.13359303586799</c:v>
                </c:pt>
                <c:pt idx="403">
                  <c:v>209.02377058599586</c:v>
                </c:pt>
                <c:pt idx="404">
                  <c:v>208.9681531270345</c:v>
                </c:pt>
                <c:pt idx="405">
                  <c:v>208.92107103135857</c:v>
                </c:pt>
                <c:pt idx="406">
                  <c:v>208.90179316155422</c:v>
                </c:pt>
                <c:pt idx="407">
                  <c:v>208.71850314670144</c:v>
                </c:pt>
                <c:pt idx="408">
                  <c:v>208.69087629928708</c:v>
                </c:pt>
                <c:pt idx="409">
                  <c:v>208.65305130640672</c:v>
                </c:pt>
                <c:pt idx="410">
                  <c:v>208.61562561651658</c:v>
                </c:pt>
                <c:pt idx="411">
                  <c:v>208.6118537055122</c:v>
                </c:pt>
                <c:pt idx="412">
                  <c:v>208.60693701733635</c:v>
                </c:pt>
                <c:pt idx="413">
                  <c:v>208.5842163085938</c:v>
                </c:pt>
                <c:pt idx="414">
                  <c:v>208.56101529978719</c:v>
                </c:pt>
                <c:pt idx="415">
                  <c:v>208.55816904703784</c:v>
                </c:pt>
                <c:pt idx="416">
                  <c:v>208.53898264567056</c:v>
                </c:pt>
                <c:pt idx="417">
                  <c:v>208.51394506383826</c:v>
                </c:pt>
                <c:pt idx="418">
                  <c:v>208.31156141493057</c:v>
                </c:pt>
                <c:pt idx="419">
                  <c:v>208.23318396674267</c:v>
                </c:pt>
                <c:pt idx="420">
                  <c:v>208.2024524264865</c:v>
                </c:pt>
                <c:pt idx="421">
                  <c:v>208.06825370788579</c:v>
                </c:pt>
                <c:pt idx="422">
                  <c:v>208.03563491256136</c:v>
                </c:pt>
                <c:pt idx="423">
                  <c:v>207.97344919840498</c:v>
                </c:pt>
                <c:pt idx="424">
                  <c:v>207.95749375207299</c:v>
                </c:pt>
                <c:pt idx="425">
                  <c:v>207.91574553212058</c:v>
                </c:pt>
                <c:pt idx="426">
                  <c:v>207.87123930613211</c:v>
                </c:pt>
                <c:pt idx="427">
                  <c:v>207.86123530069983</c:v>
                </c:pt>
                <c:pt idx="428">
                  <c:v>207.72598752242311</c:v>
                </c:pt>
                <c:pt idx="429">
                  <c:v>207.45381673177076</c:v>
                </c:pt>
                <c:pt idx="430">
                  <c:v>207.0791594559247</c:v>
                </c:pt>
                <c:pt idx="431">
                  <c:v>206.98658360931756</c:v>
                </c:pt>
                <c:pt idx="432">
                  <c:v>206.90285621293901</c:v>
                </c:pt>
                <c:pt idx="433">
                  <c:v>206.78530220953689</c:v>
                </c:pt>
                <c:pt idx="434">
                  <c:v>206.77156555754914</c:v>
                </c:pt>
                <c:pt idx="435">
                  <c:v>206.72157762315533</c:v>
                </c:pt>
                <c:pt idx="436">
                  <c:v>206.63906355116092</c:v>
                </c:pt>
                <c:pt idx="437">
                  <c:v>206.58560807969832</c:v>
                </c:pt>
                <c:pt idx="438">
                  <c:v>206.46419796438636</c:v>
                </c:pt>
                <c:pt idx="439">
                  <c:v>206.22494569333821</c:v>
                </c:pt>
                <c:pt idx="440">
                  <c:v>206.22330213488772</c:v>
                </c:pt>
                <c:pt idx="441">
                  <c:v>206.16832564459901</c:v>
                </c:pt>
                <c:pt idx="442">
                  <c:v>205.94185456496007</c:v>
                </c:pt>
                <c:pt idx="443">
                  <c:v>205.77141633281894</c:v>
                </c:pt>
                <c:pt idx="444">
                  <c:v>205.70554880711506</c:v>
                </c:pt>
                <c:pt idx="445">
                  <c:v>205.68946058485244</c:v>
                </c:pt>
                <c:pt idx="446">
                  <c:v>205.61217380147309</c:v>
                </c:pt>
                <c:pt idx="447">
                  <c:v>205.48397911919483</c:v>
                </c:pt>
                <c:pt idx="448">
                  <c:v>205.27093439605346</c:v>
                </c:pt>
                <c:pt idx="449">
                  <c:v>205.23661231668598</c:v>
                </c:pt>
                <c:pt idx="450">
                  <c:v>205.1716347588432</c:v>
                </c:pt>
                <c:pt idx="451">
                  <c:v>204.89383082937525</c:v>
                </c:pt>
                <c:pt idx="452">
                  <c:v>204.70155495537642</c:v>
                </c:pt>
                <c:pt idx="453">
                  <c:v>204.62273073736537</c:v>
                </c:pt>
                <c:pt idx="454">
                  <c:v>204.50767810865887</c:v>
                </c:pt>
                <c:pt idx="455">
                  <c:v>204.42962589286913</c:v>
                </c:pt>
                <c:pt idx="456">
                  <c:v>204.24075651164458</c:v>
                </c:pt>
                <c:pt idx="457">
                  <c:v>204.20906066329383</c:v>
                </c:pt>
                <c:pt idx="458">
                  <c:v>204.0217485176629</c:v>
                </c:pt>
                <c:pt idx="459">
                  <c:v>203.99977942572696</c:v>
                </c:pt>
                <c:pt idx="460">
                  <c:v>203.99617250230574</c:v>
                </c:pt>
                <c:pt idx="461">
                  <c:v>203.89327290852862</c:v>
                </c:pt>
                <c:pt idx="462">
                  <c:v>203.83525652763183</c:v>
                </c:pt>
                <c:pt idx="463">
                  <c:v>203.71137333912498</c:v>
                </c:pt>
                <c:pt idx="464">
                  <c:v>203.55859280925392</c:v>
                </c:pt>
                <c:pt idx="465">
                  <c:v>203.46455972720059</c:v>
                </c:pt>
                <c:pt idx="466">
                  <c:v>203.27953349542713</c:v>
                </c:pt>
                <c:pt idx="467">
                  <c:v>203.03729158703914</c:v>
                </c:pt>
                <c:pt idx="468">
                  <c:v>202.65719707489006</c:v>
                </c:pt>
                <c:pt idx="469">
                  <c:v>202.59189792209202</c:v>
                </c:pt>
                <c:pt idx="470">
                  <c:v>202.43645432223093</c:v>
                </c:pt>
                <c:pt idx="471">
                  <c:v>202.29816691080725</c:v>
                </c:pt>
                <c:pt idx="472">
                  <c:v>202.26880512905745</c:v>
                </c:pt>
                <c:pt idx="473">
                  <c:v>202.25137879969702</c:v>
                </c:pt>
                <c:pt idx="474">
                  <c:v>202.24240674054181</c:v>
                </c:pt>
                <c:pt idx="475">
                  <c:v>201.99457431369353</c:v>
                </c:pt>
                <c:pt idx="476">
                  <c:v>201.926823210105</c:v>
                </c:pt>
                <c:pt idx="477">
                  <c:v>201.89101397377613</c:v>
                </c:pt>
                <c:pt idx="478">
                  <c:v>201.76708034939236</c:v>
                </c:pt>
                <c:pt idx="479">
                  <c:v>201.69374338785804</c:v>
                </c:pt>
                <c:pt idx="480">
                  <c:v>201.6652921803792</c:v>
                </c:pt>
                <c:pt idx="481">
                  <c:v>201.64851210932295</c:v>
                </c:pt>
                <c:pt idx="482">
                  <c:v>201.42244135538738</c:v>
                </c:pt>
                <c:pt idx="483">
                  <c:v>201.40154876708982</c:v>
                </c:pt>
                <c:pt idx="484">
                  <c:v>201.20712924630834</c:v>
                </c:pt>
                <c:pt idx="485">
                  <c:v>201.14416283501509</c:v>
                </c:pt>
                <c:pt idx="486">
                  <c:v>201.0768000640644</c:v>
                </c:pt>
                <c:pt idx="487">
                  <c:v>201.02310317221941</c:v>
                </c:pt>
                <c:pt idx="488">
                  <c:v>200.96197509765625</c:v>
                </c:pt>
                <c:pt idx="489">
                  <c:v>200.96197509765625</c:v>
                </c:pt>
                <c:pt idx="490">
                  <c:v>200.96197509765625</c:v>
                </c:pt>
                <c:pt idx="491">
                  <c:v>200.96197509765625</c:v>
                </c:pt>
                <c:pt idx="492">
                  <c:v>200.96197509765625</c:v>
                </c:pt>
                <c:pt idx="493">
                  <c:v>200.96197509765625</c:v>
                </c:pt>
                <c:pt idx="494">
                  <c:v>200.96197509765625</c:v>
                </c:pt>
                <c:pt idx="495">
                  <c:v>200.96197509765625</c:v>
                </c:pt>
                <c:pt idx="496">
                  <c:v>200.96197509765625</c:v>
                </c:pt>
                <c:pt idx="497">
                  <c:v>200.96197509765625</c:v>
                </c:pt>
                <c:pt idx="498">
                  <c:v>200.96197509765625</c:v>
                </c:pt>
                <c:pt idx="499">
                  <c:v>200.96197509765625</c:v>
                </c:pt>
                <c:pt idx="500">
                  <c:v>200.96197509765625</c:v>
                </c:pt>
                <c:pt idx="501">
                  <c:v>200.96197509765625</c:v>
                </c:pt>
                <c:pt idx="502">
                  <c:v>200.96197509765625</c:v>
                </c:pt>
                <c:pt idx="503">
                  <c:v>200.95635523347778</c:v>
                </c:pt>
                <c:pt idx="504">
                  <c:v>200.92970382965746</c:v>
                </c:pt>
                <c:pt idx="505">
                  <c:v>200.91851124440291</c:v>
                </c:pt>
                <c:pt idx="506">
                  <c:v>200.87459191216362</c:v>
                </c:pt>
                <c:pt idx="507">
                  <c:v>200.85617265009569</c:v>
                </c:pt>
                <c:pt idx="508">
                  <c:v>200.84630599127877</c:v>
                </c:pt>
                <c:pt idx="509">
                  <c:v>200.8254129254376</c:v>
                </c:pt>
                <c:pt idx="510">
                  <c:v>200.79099079776461</c:v>
                </c:pt>
                <c:pt idx="511">
                  <c:v>200.76162144596128</c:v>
                </c:pt>
                <c:pt idx="512">
                  <c:v>200.7551474211449</c:v>
                </c:pt>
                <c:pt idx="513">
                  <c:v>200.60632665964363</c:v>
                </c:pt>
                <c:pt idx="514">
                  <c:v>200.57050662570532</c:v>
                </c:pt>
                <c:pt idx="515">
                  <c:v>200.37529279920795</c:v>
                </c:pt>
                <c:pt idx="516">
                  <c:v>200.25903540717241</c:v>
                </c:pt>
                <c:pt idx="517">
                  <c:v>200.18046603732637</c:v>
                </c:pt>
                <c:pt idx="518">
                  <c:v>200.11873979021198</c:v>
                </c:pt>
                <c:pt idx="519">
                  <c:v>199.94631839328338</c:v>
                </c:pt>
                <c:pt idx="520">
                  <c:v>199.94367904663079</c:v>
                </c:pt>
                <c:pt idx="521">
                  <c:v>199.94348566405893</c:v>
                </c:pt>
                <c:pt idx="522">
                  <c:v>199.93084716796875</c:v>
                </c:pt>
                <c:pt idx="523">
                  <c:v>199.93084716796875</c:v>
                </c:pt>
                <c:pt idx="524">
                  <c:v>199.93084716796875</c:v>
                </c:pt>
                <c:pt idx="525">
                  <c:v>199.93084716796875</c:v>
                </c:pt>
                <c:pt idx="526">
                  <c:v>199.93084716796875</c:v>
                </c:pt>
                <c:pt idx="527">
                  <c:v>199.93084716796875</c:v>
                </c:pt>
                <c:pt idx="528">
                  <c:v>199.93084716796875</c:v>
                </c:pt>
                <c:pt idx="529">
                  <c:v>199.93084716796875</c:v>
                </c:pt>
                <c:pt idx="530">
                  <c:v>199.93084716796875</c:v>
                </c:pt>
                <c:pt idx="531">
                  <c:v>199.93084716796875</c:v>
                </c:pt>
                <c:pt idx="532">
                  <c:v>199.93084716796875</c:v>
                </c:pt>
                <c:pt idx="533">
                  <c:v>199.93084716796875</c:v>
                </c:pt>
                <c:pt idx="534">
                  <c:v>199.93084716796875</c:v>
                </c:pt>
                <c:pt idx="535">
                  <c:v>199.93084716796875</c:v>
                </c:pt>
                <c:pt idx="536">
                  <c:v>199.93084716796875</c:v>
                </c:pt>
                <c:pt idx="537">
                  <c:v>199.93084716796875</c:v>
                </c:pt>
                <c:pt idx="538">
                  <c:v>199.93084716796875</c:v>
                </c:pt>
                <c:pt idx="539">
                  <c:v>199.93084716796875</c:v>
                </c:pt>
                <c:pt idx="540">
                  <c:v>199.93084716796875</c:v>
                </c:pt>
                <c:pt idx="541">
                  <c:v>199.93084716796875</c:v>
                </c:pt>
                <c:pt idx="542">
                  <c:v>199.93084716796875</c:v>
                </c:pt>
                <c:pt idx="543">
                  <c:v>199.93084716796875</c:v>
                </c:pt>
                <c:pt idx="544">
                  <c:v>199.93084716796875</c:v>
                </c:pt>
                <c:pt idx="545">
                  <c:v>199.93084716796875</c:v>
                </c:pt>
                <c:pt idx="546">
                  <c:v>199.93084716796875</c:v>
                </c:pt>
                <c:pt idx="547">
                  <c:v>199.93084716796875</c:v>
                </c:pt>
                <c:pt idx="548">
                  <c:v>199.93084716796875</c:v>
                </c:pt>
                <c:pt idx="549">
                  <c:v>199.93084716796875</c:v>
                </c:pt>
                <c:pt idx="550">
                  <c:v>199.93084716796875</c:v>
                </c:pt>
                <c:pt idx="551">
                  <c:v>199.93084716796875</c:v>
                </c:pt>
                <c:pt idx="552">
                  <c:v>199.93084716796875</c:v>
                </c:pt>
                <c:pt idx="553">
                  <c:v>199.93084716796875</c:v>
                </c:pt>
                <c:pt idx="554">
                  <c:v>199.93084716796875</c:v>
                </c:pt>
                <c:pt idx="555">
                  <c:v>199.93084716796875</c:v>
                </c:pt>
                <c:pt idx="556">
                  <c:v>199.93084716796875</c:v>
                </c:pt>
                <c:pt idx="557">
                  <c:v>199.93084716796875</c:v>
                </c:pt>
                <c:pt idx="558">
                  <c:v>199.93084716796875</c:v>
                </c:pt>
                <c:pt idx="559">
                  <c:v>199.93084716796875</c:v>
                </c:pt>
                <c:pt idx="560">
                  <c:v>199.93084716796875</c:v>
                </c:pt>
                <c:pt idx="561">
                  <c:v>199.93084716796875</c:v>
                </c:pt>
                <c:pt idx="562">
                  <c:v>199.93084716796875</c:v>
                </c:pt>
                <c:pt idx="563">
                  <c:v>199.93084716796875</c:v>
                </c:pt>
                <c:pt idx="564">
                  <c:v>199.93084716796875</c:v>
                </c:pt>
                <c:pt idx="565">
                  <c:v>199.93084716796875</c:v>
                </c:pt>
                <c:pt idx="566">
                  <c:v>199.93084716796875</c:v>
                </c:pt>
                <c:pt idx="567">
                  <c:v>199.93084716796875</c:v>
                </c:pt>
                <c:pt idx="568">
                  <c:v>199.93084716796875</c:v>
                </c:pt>
                <c:pt idx="569">
                  <c:v>199.93084716796875</c:v>
                </c:pt>
                <c:pt idx="570">
                  <c:v>199.93084716796875</c:v>
                </c:pt>
                <c:pt idx="571">
                  <c:v>199.93084716796875</c:v>
                </c:pt>
                <c:pt idx="572">
                  <c:v>199.93084716796875</c:v>
                </c:pt>
                <c:pt idx="573">
                  <c:v>199.93084716796875</c:v>
                </c:pt>
                <c:pt idx="574">
                  <c:v>199.93084716796875</c:v>
                </c:pt>
                <c:pt idx="575">
                  <c:v>199.93084716796875</c:v>
                </c:pt>
                <c:pt idx="576">
                  <c:v>199.93084716796875</c:v>
                </c:pt>
                <c:pt idx="577">
                  <c:v>199.93084716796875</c:v>
                </c:pt>
                <c:pt idx="578">
                  <c:v>199.93084716796875</c:v>
                </c:pt>
                <c:pt idx="579">
                  <c:v>199.93084716796875</c:v>
                </c:pt>
                <c:pt idx="580">
                  <c:v>199.93084716796875</c:v>
                </c:pt>
                <c:pt idx="581">
                  <c:v>199.93084716796875</c:v>
                </c:pt>
                <c:pt idx="582">
                  <c:v>199.93084716796875</c:v>
                </c:pt>
                <c:pt idx="583">
                  <c:v>199.93084716796875</c:v>
                </c:pt>
                <c:pt idx="584">
                  <c:v>199.93084716796875</c:v>
                </c:pt>
                <c:pt idx="585">
                  <c:v>199.93084716796875</c:v>
                </c:pt>
                <c:pt idx="586">
                  <c:v>199.93084716796875</c:v>
                </c:pt>
                <c:pt idx="587">
                  <c:v>199.93084716796875</c:v>
                </c:pt>
                <c:pt idx="588">
                  <c:v>199.93084716796875</c:v>
                </c:pt>
                <c:pt idx="589">
                  <c:v>199.93084716796875</c:v>
                </c:pt>
                <c:pt idx="590">
                  <c:v>199.93084716796875</c:v>
                </c:pt>
                <c:pt idx="591">
                  <c:v>199.93084716796875</c:v>
                </c:pt>
                <c:pt idx="592">
                  <c:v>199.93084716796875</c:v>
                </c:pt>
                <c:pt idx="593">
                  <c:v>199.93084716796875</c:v>
                </c:pt>
                <c:pt idx="594">
                  <c:v>199.93084716796875</c:v>
                </c:pt>
                <c:pt idx="595">
                  <c:v>199.93084716796875</c:v>
                </c:pt>
                <c:pt idx="596">
                  <c:v>199.93084716796875</c:v>
                </c:pt>
                <c:pt idx="597">
                  <c:v>199.93084716796875</c:v>
                </c:pt>
                <c:pt idx="598">
                  <c:v>199.93084716796875</c:v>
                </c:pt>
                <c:pt idx="599">
                  <c:v>199.93084716796875</c:v>
                </c:pt>
                <c:pt idx="600">
                  <c:v>199.93084716796875</c:v>
                </c:pt>
                <c:pt idx="601">
                  <c:v>199.93084716796875</c:v>
                </c:pt>
                <c:pt idx="602">
                  <c:v>199.93084716796875</c:v>
                </c:pt>
                <c:pt idx="603">
                  <c:v>199.93084716796875</c:v>
                </c:pt>
                <c:pt idx="604">
                  <c:v>199.93084716796875</c:v>
                </c:pt>
                <c:pt idx="605">
                  <c:v>199.93084716796875</c:v>
                </c:pt>
                <c:pt idx="606">
                  <c:v>199.93084716796875</c:v>
                </c:pt>
                <c:pt idx="607">
                  <c:v>199.93084716796875</c:v>
                </c:pt>
                <c:pt idx="608">
                  <c:v>199.93084716796875</c:v>
                </c:pt>
                <c:pt idx="609">
                  <c:v>199.93084716796875</c:v>
                </c:pt>
                <c:pt idx="610">
                  <c:v>199.93084716796875</c:v>
                </c:pt>
                <c:pt idx="611">
                  <c:v>199.93084716796875</c:v>
                </c:pt>
                <c:pt idx="612">
                  <c:v>199.93084716796875</c:v>
                </c:pt>
                <c:pt idx="613">
                  <c:v>199.93084716796875</c:v>
                </c:pt>
                <c:pt idx="614">
                  <c:v>199.93084716796875</c:v>
                </c:pt>
                <c:pt idx="615">
                  <c:v>199.93084716796875</c:v>
                </c:pt>
                <c:pt idx="616">
                  <c:v>199.93084716796875</c:v>
                </c:pt>
                <c:pt idx="617">
                  <c:v>199.93084716796875</c:v>
                </c:pt>
                <c:pt idx="618">
                  <c:v>199.93084716796875</c:v>
                </c:pt>
                <c:pt idx="619">
                  <c:v>199.93084716796875</c:v>
                </c:pt>
                <c:pt idx="620">
                  <c:v>199.93084716796875</c:v>
                </c:pt>
                <c:pt idx="621">
                  <c:v>199.90744220623537</c:v>
                </c:pt>
                <c:pt idx="622">
                  <c:v>199.87683931835477</c:v>
                </c:pt>
                <c:pt idx="623">
                  <c:v>199.86931647671508</c:v>
                </c:pt>
                <c:pt idx="624">
                  <c:v>199.84999347915004</c:v>
                </c:pt>
                <c:pt idx="625">
                  <c:v>199.83604502036678</c:v>
                </c:pt>
                <c:pt idx="626">
                  <c:v>199.8311907471948</c:v>
                </c:pt>
                <c:pt idx="627">
                  <c:v>199.79306501767428</c:v>
                </c:pt>
                <c:pt idx="628">
                  <c:v>199.75493928815376</c:v>
                </c:pt>
                <c:pt idx="629">
                  <c:v>199.74544270833326</c:v>
                </c:pt>
                <c:pt idx="630">
                  <c:v>199.73553104347206</c:v>
                </c:pt>
                <c:pt idx="631">
                  <c:v>199.71681355863348</c:v>
                </c:pt>
                <c:pt idx="632">
                  <c:v>199.7104370117188</c:v>
                </c:pt>
                <c:pt idx="633">
                  <c:v>199.70985717773442</c:v>
                </c:pt>
                <c:pt idx="634">
                  <c:v>199.69538764733124</c:v>
                </c:pt>
                <c:pt idx="635">
                  <c:v>199.68956959917955</c:v>
                </c:pt>
                <c:pt idx="636">
                  <c:v>199.68140305401323</c:v>
                </c:pt>
                <c:pt idx="637">
                  <c:v>199.54309417799232</c:v>
                </c:pt>
                <c:pt idx="638">
                  <c:v>199.45791695608091</c:v>
                </c:pt>
                <c:pt idx="639">
                  <c:v>199.39661875680486</c:v>
                </c:pt>
                <c:pt idx="640">
                  <c:v>199.2947323786658</c:v>
                </c:pt>
                <c:pt idx="641">
                  <c:v>199.29189333501017</c:v>
                </c:pt>
                <c:pt idx="642">
                  <c:v>199.243977953593</c:v>
                </c:pt>
                <c:pt idx="643">
                  <c:v>199.13032538500374</c:v>
                </c:pt>
                <c:pt idx="644">
                  <c:v>199.08917053222649</c:v>
                </c:pt>
                <c:pt idx="645">
                  <c:v>199.07162501017251</c:v>
                </c:pt>
                <c:pt idx="646">
                  <c:v>199.04592386407944</c:v>
                </c:pt>
                <c:pt idx="647">
                  <c:v>198.93871498119711</c:v>
                </c:pt>
                <c:pt idx="648">
                  <c:v>198.78979137258239</c:v>
                </c:pt>
                <c:pt idx="649">
                  <c:v>198.72950219048403</c:v>
                </c:pt>
                <c:pt idx="650">
                  <c:v>198.68874664306634</c:v>
                </c:pt>
                <c:pt idx="651">
                  <c:v>198.66644134521493</c:v>
                </c:pt>
                <c:pt idx="652">
                  <c:v>198.63279851277673</c:v>
                </c:pt>
                <c:pt idx="653">
                  <c:v>198.60152861162328</c:v>
                </c:pt>
                <c:pt idx="654">
                  <c:v>198.59119051419771</c:v>
                </c:pt>
                <c:pt idx="655">
                  <c:v>198.5764864264595</c:v>
                </c:pt>
                <c:pt idx="656">
                  <c:v>198.48414916992192</c:v>
                </c:pt>
                <c:pt idx="657">
                  <c:v>198.48272150577031</c:v>
                </c:pt>
                <c:pt idx="658">
                  <c:v>198.45685424804685</c:v>
                </c:pt>
                <c:pt idx="659">
                  <c:v>198.16476270697626</c:v>
                </c:pt>
                <c:pt idx="660">
                  <c:v>198.03670789891157</c:v>
                </c:pt>
                <c:pt idx="661">
                  <c:v>197.940932235834</c:v>
                </c:pt>
                <c:pt idx="662">
                  <c:v>197.93807544625383</c:v>
                </c:pt>
                <c:pt idx="663">
                  <c:v>197.8386000121277</c:v>
                </c:pt>
                <c:pt idx="664">
                  <c:v>197.83012398613835</c:v>
                </c:pt>
                <c:pt idx="665">
                  <c:v>197.76280805799695</c:v>
                </c:pt>
                <c:pt idx="666">
                  <c:v>197.74052124023433</c:v>
                </c:pt>
                <c:pt idx="667">
                  <c:v>197.74052124023433</c:v>
                </c:pt>
                <c:pt idx="668">
                  <c:v>197.71860487196182</c:v>
                </c:pt>
                <c:pt idx="669">
                  <c:v>197.58450317382813</c:v>
                </c:pt>
                <c:pt idx="670">
                  <c:v>197.53223498245598</c:v>
                </c:pt>
                <c:pt idx="671">
                  <c:v>197.53008846706825</c:v>
                </c:pt>
                <c:pt idx="672">
                  <c:v>197.45305479241074</c:v>
                </c:pt>
                <c:pt idx="673">
                  <c:v>197.3134765625</c:v>
                </c:pt>
                <c:pt idx="674">
                  <c:v>197.12315538194434</c:v>
                </c:pt>
                <c:pt idx="675">
                  <c:v>197.05699454413525</c:v>
                </c:pt>
                <c:pt idx="676">
                  <c:v>196.87493306460215</c:v>
                </c:pt>
                <c:pt idx="677">
                  <c:v>196.86841334702262</c:v>
                </c:pt>
                <c:pt idx="678">
                  <c:v>196.85298029581702</c:v>
                </c:pt>
                <c:pt idx="679">
                  <c:v>196.68664237277949</c:v>
                </c:pt>
                <c:pt idx="680">
                  <c:v>196.610643005371</c:v>
                </c:pt>
                <c:pt idx="681">
                  <c:v>196.49578362358943</c:v>
                </c:pt>
                <c:pt idx="682">
                  <c:v>196.40045428805888</c:v>
                </c:pt>
                <c:pt idx="683">
                  <c:v>196.34890187581391</c:v>
                </c:pt>
                <c:pt idx="684">
                  <c:v>196.27463236118888</c:v>
                </c:pt>
                <c:pt idx="685">
                  <c:v>196.22533349570995</c:v>
                </c:pt>
                <c:pt idx="686">
                  <c:v>196.13855133056632</c:v>
                </c:pt>
                <c:pt idx="687">
                  <c:v>196.0437444051106</c:v>
                </c:pt>
                <c:pt idx="688">
                  <c:v>196.0104176428722</c:v>
                </c:pt>
                <c:pt idx="689">
                  <c:v>195.97309112548828</c:v>
                </c:pt>
                <c:pt idx="690">
                  <c:v>195.9673119439019</c:v>
                </c:pt>
                <c:pt idx="691">
                  <c:v>195.93292236328125</c:v>
                </c:pt>
                <c:pt idx="692">
                  <c:v>195.81193237304683</c:v>
                </c:pt>
                <c:pt idx="693">
                  <c:v>195.76634216308594</c:v>
                </c:pt>
                <c:pt idx="694">
                  <c:v>195.69889530132514</c:v>
                </c:pt>
                <c:pt idx="695">
                  <c:v>195.6510741231109</c:v>
                </c:pt>
                <c:pt idx="696">
                  <c:v>195.54134095509858</c:v>
                </c:pt>
                <c:pt idx="697">
                  <c:v>195.53641967773433</c:v>
                </c:pt>
                <c:pt idx="698">
                  <c:v>195.48590647379569</c:v>
                </c:pt>
                <c:pt idx="699">
                  <c:v>195.38653229202237</c:v>
                </c:pt>
                <c:pt idx="700">
                  <c:v>195.34233093261719</c:v>
                </c:pt>
                <c:pt idx="701">
                  <c:v>195.31600952148438</c:v>
                </c:pt>
                <c:pt idx="702">
                  <c:v>195.19201838175445</c:v>
                </c:pt>
                <c:pt idx="703">
                  <c:v>195.13895485206899</c:v>
                </c:pt>
                <c:pt idx="704">
                  <c:v>195.05541808711587</c:v>
                </c:pt>
                <c:pt idx="705">
                  <c:v>195.05334205151064</c:v>
                </c:pt>
                <c:pt idx="706">
                  <c:v>195.04898420263203</c:v>
                </c:pt>
                <c:pt idx="707">
                  <c:v>195.03107943786733</c:v>
                </c:pt>
                <c:pt idx="708">
                  <c:v>195.02781677639246</c:v>
                </c:pt>
                <c:pt idx="709">
                  <c:v>194.76187091807219</c:v>
                </c:pt>
                <c:pt idx="710">
                  <c:v>194.74590810139966</c:v>
                </c:pt>
                <c:pt idx="711">
                  <c:v>194.72990250481507</c:v>
                </c:pt>
                <c:pt idx="712">
                  <c:v>194.59916645230714</c:v>
                </c:pt>
                <c:pt idx="713">
                  <c:v>194.45328161451539</c:v>
                </c:pt>
                <c:pt idx="714">
                  <c:v>194.38205004272641</c:v>
                </c:pt>
                <c:pt idx="715">
                  <c:v>194.33384605693732</c:v>
                </c:pt>
                <c:pt idx="716">
                  <c:v>194.25990717751483</c:v>
                </c:pt>
                <c:pt idx="717">
                  <c:v>194.25118491914532</c:v>
                </c:pt>
                <c:pt idx="718">
                  <c:v>194.01404603103106</c:v>
                </c:pt>
                <c:pt idx="719">
                  <c:v>193.93934173583989</c:v>
                </c:pt>
                <c:pt idx="720">
                  <c:v>193.87902112129427</c:v>
                </c:pt>
                <c:pt idx="721">
                  <c:v>193.68685262710051</c:v>
                </c:pt>
                <c:pt idx="722">
                  <c:v>193.66444654716702</c:v>
                </c:pt>
                <c:pt idx="723">
                  <c:v>193.40769993349045</c:v>
                </c:pt>
                <c:pt idx="724">
                  <c:v>193.36954040527348</c:v>
                </c:pt>
                <c:pt idx="725">
                  <c:v>193.17128491493349</c:v>
                </c:pt>
                <c:pt idx="726">
                  <c:v>193.09191402859153</c:v>
                </c:pt>
                <c:pt idx="727">
                  <c:v>193.07025146484375</c:v>
                </c:pt>
                <c:pt idx="728">
                  <c:v>193.07025146484375</c:v>
                </c:pt>
                <c:pt idx="729">
                  <c:v>193.07025146484375</c:v>
                </c:pt>
                <c:pt idx="730">
                  <c:v>193.07025146484375</c:v>
                </c:pt>
                <c:pt idx="731">
                  <c:v>193.07025146484375</c:v>
                </c:pt>
                <c:pt idx="732">
                  <c:v>193.07025146484375</c:v>
                </c:pt>
                <c:pt idx="733">
                  <c:v>193.07025146484375</c:v>
                </c:pt>
                <c:pt idx="734">
                  <c:v>193.07025146484375</c:v>
                </c:pt>
                <c:pt idx="735">
                  <c:v>193.07025146484375</c:v>
                </c:pt>
                <c:pt idx="736">
                  <c:v>193.07025146484375</c:v>
                </c:pt>
                <c:pt idx="737">
                  <c:v>193.07025146484375</c:v>
                </c:pt>
                <c:pt idx="738">
                  <c:v>193.07025146484375</c:v>
                </c:pt>
                <c:pt idx="739">
                  <c:v>193.04520388516528</c:v>
                </c:pt>
                <c:pt idx="740">
                  <c:v>193.03908478174935</c:v>
                </c:pt>
                <c:pt idx="741">
                  <c:v>193.02481672498914</c:v>
                </c:pt>
                <c:pt idx="742">
                  <c:v>192.99000549316406</c:v>
                </c:pt>
                <c:pt idx="743">
                  <c:v>192.98926323784724</c:v>
                </c:pt>
                <c:pt idx="744">
                  <c:v>192.94302537828571</c:v>
                </c:pt>
                <c:pt idx="745">
                  <c:v>192.93189824422211</c:v>
                </c:pt>
                <c:pt idx="746">
                  <c:v>192.84494959421545</c:v>
                </c:pt>
                <c:pt idx="747">
                  <c:v>192.81864852905267</c:v>
                </c:pt>
                <c:pt idx="748">
                  <c:v>192.80173441862166</c:v>
                </c:pt>
                <c:pt idx="749">
                  <c:v>192.79992756031174</c:v>
                </c:pt>
                <c:pt idx="750">
                  <c:v>192.74687381014496</c:v>
                </c:pt>
                <c:pt idx="751">
                  <c:v>192.68460845947266</c:v>
                </c:pt>
                <c:pt idx="752">
                  <c:v>192.6696768549059</c:v>
                </c:pt>
                <c:pt idx="753">
                  <c:v>192.61536068386499</c:v>
                </c:pt>
                <c:pt idx="754">
                  <c:v>192.55944407188781</c:v>
                </c:pt>
                <c:pt idx="755">
                  <c:v>192.53761929118991</c:v>
                </c:pt>
                <c:pt idx="756">
                  <c:v>192.40556172747438</c:v>
                </c:pt>
                <c:pt idx="757">
                  <c:v>192.31809675428599</c:v>
                </c:pt>
                <c:pt idx="758">
                  <c:v>192.27350416375839</c:v>
                </c:pt>
                <c:pt idx="759">
                  <c:v>192.20118823684027</c:v>
                </c:pt>
                <c:pt idx="760">
                  <c:v>192.17892678493922</c:v>
                </c:pt>
                <c:pt idx="761">
                  <c:v>192.14144660004285</c:v>
                </c:pt>
                <c:pt idx="762">
                  <c:v>191.94391682942705</c:v>
                </c:pt>
                <c:pt idx="763">
                  <c:v>191.94227500206193</c:v>
                </c:pt>
                <c:pt idx="764">
                  <c:v>191.73795488145618</c:v>
                </c:pt>
                <c:pt idx="765">
                  <c:v>191.65666512383359</c:v>
                </c:pt>
                <c:pt idx="766">
                  <c:v>191.58245987153555</c:v>
                </c:pt>
                <c:pt idx="767">
                  <c:v>191.58106657357416</c:v>
                </c:pt>
                <c:pt idx="768">
                  <c:v>191.57962646484384</c:v>
                </c:pt>
                <c:pt idx="769">
                  <c:v>191.57195597492864</c:v>
                </c:pt>
                <c:pt idx="770">
                  <c:v>191.49348465967319</c:v>
                </c:pt>
                <c:pt idx="771">
                  <c:v>191.30603552924254</c:v>
                </c:pt>
                <c:pt idx="772">
                  <c:v>191.261329729605</c:v>
                </c:pt>
                <c:pt idx="773">
                  <c:v>191.22879816691079</c:v>
                </c:pt>
                <c:pt idx="774">
                  <c:v>191.22483774248963</c:v>
                </c:pt>
                <c:pt idx="775">
                  <c:v>191.20269500151153</c:v>
                </c:pt>
                <c:pt idx="776">
                  <c:v>191.17578252156568</c:v>
                </c:pt>
                <c:pt idx="777">
                  <c:v>191.15144318089324</c:v>
                </c:pt>
                <c:pt idx="778">
                  <c:v>191.05340292509027</c:v>
                </c:pt>
                <c:pt idx="779">
                  <c:v>190.99340362548833</c:v>
                </c:pt>
                <c:pt idx="780">
                  <c:v>190.95750045156535</c:v>
                </c:pt>
                <c:pt idx="781">
                  <c:v>190.92245086028856</c:v>
                </c:pt>
                <c:pt idx="782">
                  <c:v>190.9156183878581</c:v>
                </c:pt>
                <c:pt idx="783">
                  <c:v>190.85039417429255</c:v>
                </c:pt>
                <c:pt idx="784">
                  <c:v>190.74966710582339</c:v>
                </c:pt>
                <c:pt idx="785">
                  <c:v>190.70929369132841</c:v>
                </c:pt>
                <c:pt idx="786">
                  <c:v>190.70663655598958</c:v>
                </c:pt>
                <c:pt idx="787">
                  <c:v>190.70109081883743</c:v>
                </c:pt>
                <c:pt idx="788">
                  <c:v>190.65867411295562</c:v>
                </c:pt>
                <c:pt idx="789">
                  <c:v>190.56391134897876</c:v>
                </c:pt>
                <c:pt idx="790">
                  <c:v>190.49944322374131</c:v>
                </c:pt>
                <c:pt idx="791">
                  <c:v>190.47696142482141</c:v>
                </c:pt>
                <c:pt idx="792">
                  <c:v>190.30114034490521</c:v>
                </c:pt>
                <c:pt idx="793">
                  <c:v>190.19478725857198</c:v>
                </c:pt>
                <c:pt idx="794">
                  <c:v>190.15570469446152</c:v>
                </c:pt>
                <c:pt idx="795">
                  <c:v>190.0339777394729</c:v>
                </c:pt>
                <c:pt idx="796">
                  <c:v>190.01239013671875</c:v>
                </c:pt>
                <c:pt idx="797">
                  <c:v>190.01239013671875</c:v>
                </c:pt>
                <c:pt idx="798">
                  <c:v>190.01239013671875</c:v>
                </c:pt>
                <c:pt idx="799">
                  <c:v>190.01239013671875</c:v>
                </c:pt>
                <c:pt idx="800">
                  <c:v>190.01239013671875</c:v>
                </c:pt>
                <c:pt idx="801">
                  <c:v>190.01239013671875</c:v>
                </c:pt>
                <c:pt idx="802">
                  <c:v>190.01239013671875</c:v>
                </c:pt>
                <c:pt idx="803">
                  <c:v>190.01239013671875</c:v>
                </c:pt>
                <c:pt idx="804">
                  <c:v>190.01239013671875</c:v>
                </c:pt>
                <c:pt idx="805">
                  <c:v>190.01239013671875</c:v>
                </c:pt>
                <c:pt idx="806">
                  <c:v>190.01239013671875</c:v>
                </c:pt>
                <c:pt idx="807">
                  <c:v>190.01239013671875</c:v>
                </c:pt>
                <c:pt idx="808">
                  <c:v>190.01239013671875</c:v>
                </c:pt>
                <c:pt idx="809">
                  <c:v>190.01239013671875</c:v>
                </c:pt>
                <c:pt idx="810">
                  <c:v>190.01239013671875</c:v>
                </c:pt>
                <c:pt idx="811">
                  <c:v>190.01239013671875</c:v>
                </c:pt>
                <c:pt idx="812">
                  <c:v>190.01239013671875</c:v>
                </c:pt>
                <c:pt idx="813">
                  <c:v>190.01239013671875</c:v>
                </c:pt>
                <c:pt idx="814">
                  <c:v>190.01239013671875</c:v>
                </c:pt>
                <c:pt idx="815">
                  <c:v>190.01239013671875</c:v>
                </c:pt>
                <c:pt idx="816">
                  <c:v>190.01239013671875</c:v>
                </c:pt>
                <c:pt idx="817">
                  <c:v>190.01239013671875</c:v>
                </c:pt>
                <c:pt idx="818">
                  <c:v>190.01239013671875</c:v>
                </c:pt>
                <c:pt idx="819">
                  <c:v>190.01239013671875</c:v>
                </c:pt>
                <c:pt idx="820">
                  <c:v>190.01239013671875</c:v>
                </c:pt>
                <c:pt idx="821">
                  <c:v>190.01239013671875</c:v>
                </c:pt>
                <c:pt idx="822">
                  <c:v>190.01239013671875</c:v>
                </c:pt>
                <c:pt idx="823">
                  <c:v>190.01239013671875</c:v>
                </c:pt>
                <c:pt idx="824">
                  <c:v>190.01239013671875</c:v>
                </c:pt>
                <c:pt idx="825">
                  <c:v>190.01239013671875</c:v>
                </c:pt>
                <c:pt idx="826">
                  <c:v>190.01239013671875</c:v>
                </c:pt>
                <c:pt idx="827">
                  <c:v>190.01239013671875</c:v>
                </c:pt>
                <c:pt idx="828">
                  <c:v>190.01239013671875</c:v>
                </c:pt>
                <c:pt idx="829">
                  <c:v>190.01239013671875</c:v>
                </c:pt>
                <c:pt idx="830">
                  <c:v>190.01239013671875</c:v>
                </c:pt>
                <c:pt idx="831">
                  <c:v>190.01239013671875</c:v>
                </c:pt>
                <c:pt idx="832">
                  <c:v>190.01239013671875</c:v>
                </c:pt>
                <c:pt idx="833">
                  <c:v>190.01239013671875</c:v>
                </c:pt>
                <c:pt idx="834">
                  <c:v>190.01239013671875</c:v>
                </c:pt>
                <c:pt idx="835">
                  <c:v>190.01239013671875</c:v>
                </c:pt>
                <c:pt idx="836">
                  <c:v>190.01239013671875</c:v>
                </c:pt>
                <c:pt idx="837">
                  <c:v>190.01239013671875</c:v>
                </c:pt>
                <c:pt idx="838">
                  <c:v>190.01239013671875</c:v>
                </c:pt>
                <c:pt idx="839">
                  <c:v>190.01239013671875</c:v>
                </c:pt>
                <c:pt idx="840">
                  <c:v>190.01239013671875</c:v>
                </c:pt>
                <c:pt idx="841">
                  <c:v>190.01239013671875</c:v>
                </c:pt>
                <c:pt idx="842">
                  <c:v>190.01239013671875</c:v>
                </c:pt>
                <c:pt idx="843">
                  <c:v>190.01239013671875</c:v>
                </c:pt>
                <c:pt idx="844">
                  <c:v>190.01239013671875</c:v>
                </c:pt>
                <c:pt idx="845">
                  <c:v>190.01239013671875</c:v>
                </c:pt>
                <c:pt idx="846">
                  <c:v>190.01239013671875</c:v>
                </c:pt>
                <c:pt idx="847">
                  <c:v>190.01239013671875</c:v>
                </c:pt>
                <c:pt idx="848">
                  <c:v>190.01239013671875</c:v>
                </c:pt>
                <c:pt idx="849">
                  <c:v>190.01239013671875</c:v>
                </c:pt>
                <c:pt idx="850">
                  <c:v>190.01239013671875</c:v>
                </c:pt>
                <c:pt idx="851">
                  <c:v>190.01239013671875</c:v>
                </c:pt>
                <c:pt idx="852">
                  <c:v>190.01239013671875</c:v>
                </c:pt>
                <c:pt idx="853">
                  <c:v>190.01239013671875</c:v>
                </c:pt>
                <c:pt idx="854">
                  <c:v>190.01239013671875</c:v>
                </c:pt>
                <c:pt idx="855">
                  <c:v>190.01239013671875</c:v>
                </c:pt>
                <c:pt idx="856">
                  <c:v>190.01239013671875</c:v>
                </c:pt>
                <c:pt idx="857">
                  <c:v>190.01239013671875</c:v>
                </c:pt>
                <c:pt idx="858">
                  <c:v>190.01239013671875</c:v>
                </c:pt>
                <c:pt idx="859">
                  <c:v>190.01239013671875</c:v>
                </c:pt>
                <c:pt idx="860">
                  <c:v>190.01239013671875</c:v>
                </c:pt>
                <c:pt idx="861">
                  <c:v>190.01239013671875</c:v>
                </c:pt>
                <c:pt idx="862">
                  <c:v>190.01239013671875</c:v>
                </c:pt>
                <c:pt idx="863">
                  <c:v>190.01239013671875</c:v>
                </c:pt>
                <c:pt idx="864">
                  <c:v>190.01239013671875</c:v>
                </c:pt>
                <c:pt idx="865">
                  <c:v>190.01239013671875</c:v>
                </c:pt>
                <c:pt idx="866">
                  <c:v>190.01239013671875</c:v>
                </c:pt>
                <c:pt idx="867">
                  <c:v>190.01239013671875</c:v>
                </c:pt>
                <c:pt idx="868">
                  <c:v>190.01239013671875</c:v>
                </c:pt>
                <c:pt idx="869">
                  <c:v>190.01239013671875</c:v>
                </c:pt>
                <c:pt idx="870">
                  <c:v>190.01239013671875</c:v>
                </c:pt>
                <c:pt idx="871">
                  <c:v>190.01239013671875</c:v>
                </c:pt>
                <c:pt idx="872">
                  <c:v>190.01239013671875</c:v>
                </c:pt>
                <c:pt idx="873">
                  <c:v>190.01239013671875</c:v>
                </c:pt>
                <c:pt idx="874">
                  <c:v>190.01239013671875</c:v>
                </c:pt>
                <c:pt idx="875">
                  <c:v>190.01239013671875</c:v>
                </c:pt>
                <c:pt idx="876">
                  <c:v>190.01239013671875</c:v>
                </c:pt>
                <c:pt idx="877">
                  <c:v>190.01239013671875</c:v>
                </c:pt>
                <c:pt idx="878">
                  <c:v>190.01239013671875</c:v>
                </c:pt>
                <c:pt idx="879">
                  <c:v>190.01239013671875</c:v>
                </c:pt>
                <c:pt idx="880">
                  <c:v>190.01239013671875</c:v>
                </c:pt>
                <c:pt idx="881">
                  <c:v>190.01239013671875</c:v>
                </c:pt>
                <c:pt idx="882">
                  <c:v>190.01239013671875</c:v>
                </c:pt>
                <c:pt idx="883">
                  <c:v>190.01239013671875</c:v>
                </c:pt>
                <c:pt idx="884">
                  <c:v>190.01239013671875</c:v>
                </c:pt>
                <c:pt idx="885">
                  <c:v>190.01239013671875</c:v>
                </c:pt>
                <c:pt idx="886">
                  <c:v>190.01239013671875</c:v>
                </c:pt>
                <c:pt idx="887">
                  <c:v>190.01239013671875</c:v>
                </c:pt>
                <c:pt idx="888">
                  <c:v>190.01239013671875</c:v>
                </c:pt>
                <c:pt idx="889">
                  <c:v>189.96617927227862</c:v>
                </c:pt>
                <c:pt idx="890">
                  <c:v>189.94382052951391</c:v>
                </c:pt>
                <c:pt idx="891">
                  <c:v>189.92589372907378</c:v>
                </c:pt>
                <c:pt idx="892">
                  <c:v>189.89966583251953</c:v>
                </c:pt>
                <c:pt idx="893">
                  <c:v>189.83671688503682</c:v>
                </c:pt>
                <c:pt idx="894">
                  <c:v>189.78708970811635</c:v>
                </c:pt>
                <c:pt idx="895">
                  <c:v>189.77296094501389</c:v>
                </c:pt>
                <c:pt idx="896">
                  <c:v>189.755143009015</c:v>
                </c:pt>
                <c:pt idx="897">
                  <c:v>189.61250089786552</c:v>
                </c:pt>
                <c:pt idx="898">
                  <c:v>189.60844360342071</c:v>
                </c:pt>
                <c:pt idx="899">
                  <c:v>189.5914643238209</c:v>
                </c:pt>
                <c:pt idx="900">
                  <c:v>189.55029772422563</c:v>
                </c:pt>
                <c:pt idx="901">
                  <c:v>189.46278735028204</c:v>
                </c:pt>
                <c:pt idx="902">
                  <c:v>189.34002278645835</c:v>
                </c:pt>
                <c:pt idx="903">
                  <c:v>189.28624357140575</c:v>
                </c:pt>
                <c:pt idx="904">
                  <c:v>189.25606440650085</c:v>
                </c:pt>
                <c:pt idx="905">
                  <c:v>189.24195098876953</c:v>
                </c:pt>
                <c:pt idx="906">
                  <c:v>189.20811785763658</c:v>
                </c:pt>
                <c:pt idx="907">
                  <c:v>189.19839736745917</c:v>
                </c:pt>
                <c:pt idx="908">
                  <c:v>189.17712758382163</c:v>
                </c:pt>
                <c:pt idx="909">
                  <c:v>189.136671021648</c:v>
                </c:pt>
                <c:pt idx="910">
                  <c:v>189.12332079459463</c:v>
                </c:pt>
                <c:pt idx="911">
                  <c:v>189.01185811360688</c:v>
                </c:pt>
                <c:pt idx="912">
                  <c:v>188.94079507744846</c:v>
                </c:pt>
                <c:pt idx="913">
                  <c:v>188.92606667412645</c:v>
                </c:pt>
                <c:pt idx="914">
                  <c:v>188.90474302503799</c:v>
                </c:pt>
                <c:pt idx="915">
                  <c:v>188.84623836941182</c:v>
                </c:pt>
                <c:pt idx="916">
                  <c:v>188.82724537959768</c:v>
                </c:pt>
                <c:pt idx="917">
                  <c:v>188.76897047611715</c:v>
                </c:pt>
                <c:pt idx="918">
                  <c:v>188.76375866781268</c:v>
                </c:pt>
                <c:pt idx="919">
                  <c:v>188.71153106689451</c:v>
                </c:pt>
                <c:pt idx="920">
                  <c:v>188.4606974283854</c:v>
                </c:pt>
                <c:pt idx="921">
                  <c:v>188.40716214626582</c:v>
                </c:pt>
                <c:pt idx="922">
                  <c:v>188.38452302155679</c:v>
                </c:pt>
                <c:pt idx="923">
                  <c:v>188.37655239401215</c:v>
                </c:pt>
                <c:pt idx="924">
                  <c:v>188.37043897840704</c:v>
                </c:pt>
                <c:pt idx="925">
                  <c:v>188.24991997612847</c:v>
                </c:pt>
                <c:pt idx="926">
                  <c:v>188.22809932708742</c:v>
                </c:pt>
                <c:pt idx="927">
                  <c:v>188.15660349528002</c:v>
                </c:pt>
                <c:pt idx="928">
                  <c:v>188.08478768218856</c:v>
                </c:pt>
                <c:pt idx="929">
                  <c:v>188.01214447021482</c:v>
                </c:pt>
                <c:pt idx="930">
                  <c:v>187.94427269829634</c:v>
                </c:pt>
                <c:pt idx="931">
                  <c:v>187.8580200195313</c:v>
                </c:pt>
                <c:pt idx="932">
                  <c:v>187.77332588595959</c:v>
                </c:pt>
                <c:pt idx="933">
                  <c:v>187.74217876858177</c:v>
                </c:pt>
                <c:pt idx="934">
                  <c:v>187.68530111816631</c:v>
                </c:pt>
                <c:pt idx="935">
                  <c:v>187.67326919436118</c:v>
                </c:pt>
                <c:pt idx="936">
                  <c:v>187.61245388454859</c:v>
                </c:pt>
                <c:pt idx="937">
                  <c:v>187.55938517252594</c:v>
                </c:pt>
                <c:pt idx="938">
                  <c:v>187.36665445963536</c:v>
                </c:pt>
                <c:pt idx="939">
                  <c:v>187.31310017903638</c:v>
                </c:pt>
                <c:pt idx="940">
                  <c:v>187.29665928246675</c:v>
                </c:pt>
                <c:pt idx="941">
                  <c:v>187.26575775146489</c:v>
                </c:pt>
                <c:pt idx="942">
                  <c:v>187.17757619222016</c:v>
                </c:pt>
                <c:pt idx="943">
                  <c:v>187.12294690148951</c:v>
                </c:pt>
                <c:pt idx="944">
                  <c:v>187.10490676150539</c:v>
                </c:pt>
                <c:pt idx="945">
                  <c:v>187.05331247054528</c:v>
                </c:pt>
                <c:pt idx="946">
                  <c:v>187.05206298828125</c:v>
                </c:pt>
                <c:pt idx="947">
                  <c:v>187.03421122233067</c:v>
                </c:pt>
                <c:pt idx="948">
                  <c:v>187.01729048022935</c:v>
                </c:pt>
                <c:pt idx="949">
                  <c:v>186.96358074909358</c:v>
                </c:pt>
                <c:pt idx="950">
                  <c:v>186.7840784200032</c:v>
                </c:pt>
                <c:pt idx="951">
                  <c:v>186.76723632812502</c:v>
                </c:pt>
                <c:pt idx="952">
                  <c:v>186.73825882742449</c:v>
                </c:pt>
                <c:pt idx="953">
                  <c:v>186.67879563893393</c:v>
                </c:pt>
                <c:pt idx="954">
                  <c:v>186.67281138102203</c:v>
                </c:pt>
                <c:pt idx="955">
                  <c:v>186.47938388775663</c:v>
                </c:pt>
                <c:pt idx="956">
                  <c:v>186.35032365587017</c:v>
                </c:pt>
                <c:pt idx="957">
                  <c:v>186.21623599794179</c:v>
                </c:pt>
                <c:pt idx="958">
                  <c:v>186.10855771418483</c:v>
                </c:pt>
                <c:pt idx="959">
                  <c:v>186.04318152533642</c:v>
                </c:pt>
                <c:pt idx="960">
                  <c:v>186.03563334147134</c:v>
                </c:pt>
                <c:pt idx="961">
                  <c:v>185.79701661982085</c:v>
                </c:pt>
                <c:pt idx="962">
                  <c:v>185.75357801649307</c:v>
                </c:pt>
                <c:pt idx="963">
                  <c:v>185.63691253662114</c:v>
                </c:pt>
                <c:pt idx="964">
                  <c:v>185.48953196207685</c:v>
                </c:pt>
                <c:pt idx="965">
                  <c:v>185.44768835786431</c:v>
                </c:pt>
                <c:pt idx="966">
                  <c:v>185.31404443105066</c:v>
                </c:pt>
                <c:pt idx="967">
                  <c:v>185.25995822482628</c:v>
                </c:pt>
                <c:pt idx="968">
                  <c:v>185.23566504305791</c:v>
                </c:pt>
                <c:pt idx="969">
                  <c:v>185.23060887920565</c:v>
                </c:pt>
                <c:pt idx="970">
                  <c:v>185.15159810384125</c:v>
                </c:pt>
                <c:pt idx="971">
                  <c:v>185.10183972471987</c:v>
                </c:pt>
                <c:pt idx="972">
                  <c:v>185.10000525177793</c:v>
                </c:pt>
                <c:pt idx="973">
                  <c:v>185.04888774372853</c:v>
                </c:pt>
                <c:pt idx="974">
                  <c:v>185.0167236328125</c:v>
                </c:pt>
                <c:pt idx="975">
                  <c:v>185.0167236328125</c:v>
                </c:pt>
                <c:pt idx="976">
                  <c:v>185.0167236328125</c:v>
                </c:pt>
                <c:pt idx="977">
                  <c:v>185.0167236328125</c:v>
                </c:pt>
                <c:pt idx="978">
                  <c:v>185.0167236328125</c:v>
                </c:pt>
                <c:pt idx="979">
                  <c:v>185.0167236328125</c:v>
                </c:pt>
                <c:pt idx="980">
                  <c:v>185.0167236328125</c:v>
                </c:pt>
                <c:pt idx="981">
                  <c:v>185.0167236328125</c:v>
                </c:pt>
                <c:pt idx="982">
                  <c:v>185.0167236328125</c:v>
                </c:pt>
                <c:pt idx="983">
                  <c:v>185.0167236328125</c:v>
                </c:pt>
                <c:pt idx="984">
                  <c:v>185.0167236328125</c:v>
                </c:pt>
                <c:pt idx="985">
                  <c:v>185.0167236328125</c:v>
                </c:pt>
                <c:pt idx="986">
                  <c:v>185.0167236328125</c:v>
                </c:pt>
                <c:pt idx="987">
                  <c:v>185.0167236328125</c:v>
                </c:pt>
                <c:pt idx="988">
                  <c:v>185.0167236328125</c:v>
                </c:pt>
                <c:pt idx="989">
                  <c:v>185.0167236328125</c:v>
                </c:pt>
                <c:pt idx="990">
                  <c:v>185.0167236328125</c:v>
                </c:pt>
                <c:pt idx="991">
                  <c:v>184.82818259283749</c:v>
                </c:pt>
                <c:pt idx="992">
                  <c:v>184.81470580892596</c:v>
                </c:pt>
                <c:pt idx="993">
                  <c:v>184.74359902571166</c:v>
                </c:pt>
                <c:pt idx="994">
                  <c:v>184.7172489590115</c:v>
                </c:pt>
                <c:pt idx="995">
                  <c:v>184.70397472954505</c:v>
                </c:pt>
                <c:pt idx="996">
                  <c:v>184.69839317841343</c:v>
                </c:pt>
                <c:pt idx="997">
                  <c:v>184.68179199932615</c:v>
                </c:pt>
                <c:pt idx="998">
                  <c:v>184.62400059503557</c:v>
                </c:pt>
                <c:pt idx="999">
                  <c:v>184.60666164822055</c:v>
                </c:pt>
                <c:pt idx="1000">
                  <c:v>184.55667738312104</c:v>
                </c:pt>
                <c:pt idx="1001">
                  <c:v>184.54353017578478</c:v>
                </c:pt>
                <c:pt idx="1002">
                  <c:v>184.52069380108742</c:v>
                </c:pt>
                <c:pt idx="1003">
                  <c:v>184.38088415059178</c:v>
                </c:pt>
                <c:pt idx="1004">
                  <c:v>184.31638833070406</c:v>
                </c:pt>
                <c:pt idx="1005">
                  <c:v>184.28269255327405</c:v>
                </c:pt>
                <c:pt idx="1006">
                  <c:v>184.2589543660481</c:v>
                </c:pt>
                <c:pt idx="1007">
                  <c:v>184.14966244167749</c:v>
                </c:pt>
                <c:pt idx="1008">
                  <c:v>184.14523942735468</c:v>
                </c:pt>
                <c:pt idx="1009">
                  <c:v>184.06125703034581</c:v>
                </c:pt>
                <c:pt idx="1010">
                  <c:v>184.05539042154953</c:v>
                </c:pt>
                <c:pt idx="1011">
                  <c:v>184.05020141601563</c:v>
                </c:pt>
                <c:pt idx="1012">
                  <c:v>183.91177113850904</c:v>
                </c:pt>
                <c:pt idx="1013">
                  <c:v>183.90130373423767</c:v>
                </c:pt>
                <c:pt idx="1014">
                  <c:v>183.86536523768177</c:v>
                </c:pt>
                <c:pt idx="1015">
                  <c:v>183.83429941403256</c:v>
                </c:pt>
                <c:pt idx="1016">
                  <c:v>183.73645471856776</c:v>
                </c:pt>
                <c:pt idx="1017">
                  <c:v>183.7026326497396</c:v>
                </c:pt>
                <c:pt idx="1018">
                  <c:v>183.54545620968156</c:v>
                </c:pt>
                <c:pt idx="1019">
                  <c:v>183.48663697129541</c:v>
                </c:pt>
                <c:pt idx="1020">
                  <c:v>183.36839640641415</c:v>
                </c:pt>
                <c:pt idx="1021">
                  <c:v>183.31825341118702</c:v>
                </c:pt>
                <c:pt idx="1022">
                  <c:v>183.29013163248692</c:v>
                </c:pt>
                <c:pt idx="1023">
                  <c:v>183.27362348768452</c:v>
                </c:pt>
                <c:pt idx="1024">
                  <c:v>183.20298207600922</c:v>
                </c:pt>
                <c:pt idx="1025">
                  <c:v>183.06373782687706</c:v>
                </c:pt>
                <c:pt idx="1026">
                  <c:v>182.85938266274024</c:v>
                </c:pt>
                <c:pt idx="1027">
                  <c:v>182.84394584677716</c:v>
                </c:pt>
                <c:pt idx="1028">
                  <c:v>182.7433959960938</c:v>
                </c:pt>
                <c:pt idx="1029">
                  <c:v>182.517967054579</c:v>
                </c:pt>
                <c:pt idx="1030">
                  <c:v>182.23393799312521</c:v>
                </c:pt>
                <c:pt idx="1031">
                  <c:v>182.12527584499776</c:v>
                </c:pt>
                <c:pt idx="1032">
                  <c:v>181.99132209353979</c:v>
                </c:pt>
                <c:pt idx="1033">
                  <c:v>181.83412013984912</c:v>
                </c:pt>
                <c:pt idx="1034">
                  <c:v>181.75397443489965</c:v>
                </c:pt>
                <c:pt idx="1035">
                  <c:v>181.69076182047525</c:v>
                </c:pt>
                <c:pt idx="1036">
                  <c:v>181.635676852708</c:v>
                </c:pt>
                <c:pt idx="1037">
                  <c:v>181.59340969602044</c:v>
                </c:pt>
                <c:pt idx="1038">
                  <c:v>181.57160571268219</c:v>
                </c:pt>
                <c:pt idx="1039">
                  <c:v>181.42835396385613</c:v>
                </c:pt>
                <c:pt idx="1040">
                  <c:v>181.41994424325458</c:v>
                </c:pt>
                <c:pt idx="1041">
                  <c:v>181.32493574354385</c:v>
                </c:pt>
                <c:pt idx="1042">
                  <c:v>181.25126549614811</c:v>
                </c:pt>
                <c:pt idx="1043">
                  <c:v>181.15179172092019</c:v>
                </c:pt>
                <c:pt idx="1044">
                  <c:v>181.10546349419496</c:v>
                </c:pt>
                <c:pt idx="1045">
                  <c:v>180.85741424560547</c:v>
                </c:pt>
                <c:pt idx="1046">
                  <c:v>180.75068071153419</c:v>
                </c:pt>
                <c:pt idx="1047">
                  <c:v>180.73036637576195</c:v>
                </c:pt>
                <c:pt idx="1048">
                  <c:v>180.71782161196916</c:v>
                </c:pt>
                <c:pt idx="1049">
                  <c:v>180.71014102935806</c:v>
                </c:pt>
                <c:pt idx="1050">
                  <c:v>180.70005250980546</c:v>
                </c:pt>
                <c:pt idx="1051">
                  <c:v>180.68708310798365</c:v>
                </c:pt>
                <c:pt idx="1052">
                  <c:v>180.66408439318934</c:v>
                </c:pt>
                <c:pt idx="1053">
                  <c:v>180.62142398321578</c:v>
                </c:pt>
                <c:pt idx="1054">
                  <c:v>180.58541581224358</c:v>
                </c:pt>
                <c:pt idx="1055">
                  <c:v>180.37817077636714</c:v>
                </c:pt>
                <c:pt idx="1056">
                  <c:v>180.30169131010337</c:v>
                </c:pt>
                <c:pt idx="1057">
                  <c:v>180.29091644287109</c:v>
                </c:pt>
                <c:pt idx="1058">
                  <c:v>180.22052104533213</c:v>
                </c:pt>
                <c:pt idx="1059">
                  <c:v>180.20146094428162</c:v>
                </c:pt>
                <c:pt idx="1060">
                  <c:v>180.18934111941212</c:v>
                </c:pt>
                <c:pt idx="1061">
                  <c:v>180.18240949842675</c:v>
                </c:pt>
                <c:pt idx="1062">
                  <c:v>180.17392823395903</c:v>
                </c:pt>
                <c:pt idx="1063">
                  <c:v>180.14126468234599</c:v>
                </c:pt>
                <c:pt idx="1064">
                  <c:v>180.08729593986868</c:v>
                </c:pt>
                <c:pt idx="1065">
                  <c:v>180.05682373046875</c:v>
                </c:pt>
                <c:pt idx="1066">
                  <c:v>180.02426680639996</c:v>
                </c:pt>
                <c:pt idx="1067">
                  <c:v>179.94122314453125</c:v>
                </c:pt>
                <c:pt idx="1068">
                  <c:v>179.94122314453125</c:v>
                </c:pt>
                <c:pt idx="1069">
                  <c:v>179.94122314453125</c:v>
                </c:pt>
                <c:pt idx="1070">
                  <c:v>179.94122314453125</c:v>
                </c:pt>
                <c:pt idx="1071">
                  <c:v>179.94122314453125</c:v>
                </c:pt>
                <c:pt idx="1072">
                  <c:v>179.94122314453125</c:v>
                </c:pt>
                <c:pt idx="1073">
                  <c:v>179.94122314453125</c:v>
                </c:pt>
                <c:pt idx="1074">
                  <c:v>179.94122314453125</c:v>
                </c:pt>
                <c:pt idx="1075">
                  <c:v>179.94122314453125</c:v>
                </c:pt>
                <c:pt idx="1076">
                  <c:v>179.94122314453125</c:v>
                </c:pt>
                <c:pt idx="1077">
                  <c:v>179.94122314453125</c:v>
                </c:pt>
                <c:pt idx="1078">
                  <c:v>179.94122314453125</c:v>
                </c:pt>
                <c:pt idx="1079">
                  <c:v>179.94122314453125</c:v>
                </c:pt>
                <c:pt idx="1080">
                  <c:v>179.94122314453125</c:v>
                </c:pt>
                <c:pt idx="1081">
                  <c:v>179.94122314453125</c:v>
                </c:pt>
                <c:pt idx="1082">
                  <c:v>179.94122314453125</c:v>
                </c:pt>
                <c:pt idx="1083">
                  <c:v>179.94122314453125</c:v>
                </c:pt>
                <c:pt idx="1084">
                  <c:v>179.94122314453125</c:v>
                </c:pt>
                <c:pt idx="1085">
                  <c:v>179.94122314453125</c:v>
                </c:pt>
                <c:pt idx="1086">
                  <c:v>179.94122314453125</c:v>
                </c:pt>
                <c:pt idx="1087">
                  <c:v>179.94122314453125</c:v>
                </c:pt>
                <c:pt idx="1088">
                  <c:v>179.94122314453125</c:v>
                </c:pt>
                <c:pt idx="1089">
                  <c:v>179.94122314453125</c:v>
                </c:pt>
                <c:pt idx="1090">
                  <c:v>179.94122314453125</c:v>
                </c:pt>
                <c:pt idx="1091">
                  <c:v>179.94122314453125</c:v>
                </c:pt>
                <c:pt idx="1092">
                  <c:v>179.94122314453125</c:v>
                </c:pt>
                <c:pt idx="1093">
                  <c:v>179.94122314453125</c:v>
                </c:pt>
                <c:pt idx="1094">
                  <c:v>179.94122314453125</c:v>
                </c:pt>
                <c:pt idx="1095">
                  <c:v>179.94122314453125</c:v>
                </c:pt>
                <c:pt idx="1096">
                  <c:v>179.94122314453125</c:v>
                </c:pt>
                <c:pt idx="1097">
                  <c:v>179.94122314453125</c:v>
                </c:pt>
                <c:pt idx="1098">
                  <c:v>179.94122314453125</c:v>
                </c:pt>
                <c:pt idx="1099">
                  <c:v>179.94122314453125</c:v>
                </c:pt>
                <c:pt idx="1100">
                  <c:v>179.94122314453125</c:v>
                </c:pt>
                <c:pt idx="1101">
                  <c:v>179.94122314453125</c:v>
                </c:pt>
                <c:pt idx="1102">
                  <c:v>179.94122314453125</c:v>
                </c:pt>
                <c:pt idx="1103">
                  <c:v>179.94122314453125</c:v>
                </c:pt>
                <c:pt idx="1104">
                  <c:v>179.94122314453125</c:v>
                </c:pt>
                <c:pt idx="1105">
                  <c:v>179.94122314453125</c:v>
                </c:pt>
                <c:pt idx="1106">
                  <c:v>179.94122314453125</c:v>
                </c:pt>
                <c:pt idx="1107">
                  <c:v>179.94122314453125</c:v>
                </c:pt>
                <c:pt idx="1108">
                  <c:v>179.94122314453125</c:v>
                </c:pt>
                <c:pt idx="1109">
                  <c:v>179.94122314453125</c:v>
                </c:pt>
                <c:pt idx="1110">
                  <c:v>179.94122314453125</c:v>
                </c:pt>
                <c:pt idx="1111">
                  <c:v>179.94122314453125</c:v>
                </c:pt>
                <c:pt idx="1112">
                  <c:v>179.94122314453125</c:v>
                </c:pt>
                <c:pt idx="1113">
                  <c:v>179.94122314453125</c:v>
                </c:pt>
                <c:pt idx="1114">
                  <c:v>179.94122314453125</c:v>
                </c:pt>
                <c:pt idx="1115">
                  <c:v>179.94122314453125</c:v>
                </c:pt>
                <c:pt idx="1116">
                  <c:v>179.94122314453125</c:v>
                </c:pt>
                <c:pt idx="1117">
                  <c:v>179.94122314453125</c:v>
                </c:pt>
                <c:pt idx="1118">
                  <c:v>179.94122314453125</c:v>
                </c:pt>
                <c:pt idx="1119">
                  <c:v>179.94122314453125</c:v>
                </c:pt>
                <c:pt idx="1120">
                  <c:v>179.94122314453125</c:v>
                </c:pt>
                <c:pt idx="1121">
                  <c:v>179.94122314453125</c:v>
                </c:pt>
                <c:pt idx="1122">
                  <c:v>179.94122314453125</c:v>
                </c:pt>
                <c:pt idx="1123">
                  <c:v>179.94122314453125</c:v>
                </c:pt>
                <c:pt idx="1124">
                  <c:v>179.94122314453125</c:v>
                </c:pt>
                <c:pt idx="1125">
                  <c:v>179.94122314453125</c:v>
                </c:pt>
                <c:pt idx="1126">
                  <c:v>179.94122314453125</c:v>
                </c:pt>
                <c:pt idx="1127">
                  <c:v>179.94122314453125</c:v>
                </c:pt>
                <c:pt idx="1128">
                  <c:v>179.94122314453125</c:v>
                </c:pt>
                <c:pt idx="1129">
                  <c:v>179.94122314453125</c:v>
                </c:pt>
                <c:pt idx="1130">
                  <c:v>179.94122314453125</c:v>
                </c:pt>
                <c:pt idx="1131">
                  <c:v>179.94122314453125</c:v>
                </c:pt>
                <c:pt idx="1132">
                  <c:v>179.94122314453125</c:v>
                </c:pt>
                <c:pt idx="1133">
                  <c:v>179.94122314453125</c:v>
                </c:pt>
                <c:pt idx="1134">
                  <c:v>179.94122314453125</c:v>
                </c:pt>
                <c:pt idx="1135">
                  <c:v>179.94122314453125</c:v>
                </c:pt>
                <c:pt idx="1136">
                  <c:v>179.94122314453125</c:v>
                </c:pt>
                <c:pt idx="1137">
                  <c:v>179.94122314453125</c:v>
                </c:pt>
                <c:pt idx="1138">
                  <c:v>179.94122314453125</c:v>
                </c:pt>
                <c:pt idx="1139">
                  <c:v>179.94122314453125</c:v>
                </c:pt>
                <c:pt idx="1140">
                  <c:v>179.93386052018491</c:v>
                </c:pt>
                <c:pt idx="1141">
                  <c:v>179.91166806275805</c:v>
                </c:pt>
                <c:pt idx="1142">
                  <c:v>179.8812808692544</c:v>
                </c:pt>
                <c:pt idx="1143">
                  <c:v>179.87522923188476</c:v>
                </c:pt>
                <c:pt idx="1144">
                  <c:v>179.86875500205474</c:v>
                </c:pt>
                <c:pt idx="1145">
                  <c:v>179.86128662109377</c:v>
                </c:pt>
                <c:pt idx="1146">
                  <c:v>179.78421951839937</c:v>
                </c:pt>
                <c:pt idx="1147">
                  <c:v>179.73984819881298</c:v>
                </c:pt>
                <c:pt idx="1148">
                  <c:v>179.70718912953726</c:v>
                </c:pt>
                <c:pt idx="1149">
                  <c:v>179.68913111644383</c:v>
                </c:pt>
                <c:pt idx="1150">
                  <c:v>179.66479130161065</c:v>
                </c:pt>
                <c:pt idx="1151">
                  <c:v>179.65907921789812</c:v>
                </c:pt>
                <c:pt idx="1152">
                  <c:v>179.65780114067934</c:v>
                </c:pt>
                <c:pt idx="1153">
                  <c:v>179.63321589250108</c:v>
                </c:pt>
                <c:pt idx="1154">
                  <c:v>179.61717604684713</c:v>
                </c:pt>
                <c:pt idx="1155">
                  <c:v>179.52716296415701</c:v>
                </c:pt>
                <c:pt idx="1156">
                  <c:v>179.52640820835006</c:v>
                </c:pt>
                <c:pt idx="1157">
                  <c:v>179.46787969382399</c:v>
                </c:pt>
                <c:pt idx="1158">
                  <c:v>179.46635909931433</c:v>
                </c:pt>
                <c:pt idx="1159">
                  <c:v>179.43714988146712</c:v>
                </c:pt>
                <c:pt idx="1160">
                  <c:v>179.36681289375679</c:v>
                </c:pt>
                <c:pt idx="1161">
                  <c:v>179.33715062733199</c:v>
                </c:pt>
                <c:pt idx="1162">
                  <c:v>179.3083641899957</c:v>
                </c:pt>
                <c:pt idx="1163">
                  <c:v>179.24682114505526</c:v>
                </c:pt>
                <c:pt idx="1164">
                  <c:v>179.195384894477</c:v>
                </c:pt>
                <c:pt idx="1165">
                  <c:v>179.11177775065107</c:v>
                </c:pt>
                <c:pt idx="1166">
                  <c:v>179.11048059082032</c:v>
                </c:pt>
                <c:pt idx="1167">
                  <c:v>179.10399074336033</c:v>
                </c:pt>
                <c:pt idx="1168">
                  <c:v>179.10213599413737</c:v>
                </c:pt>
                <c:pt idx="1169">
                  <c:v>179.08500396909926</c:v>
                </c:pt>
                <c:pt idx="1170">
                  <c:v>179.06223551432299</c:v>
                </c:pt>
                <c:pt idx="1171">
                  <c:v>179.018702782525</c:v>
                </c:pt>
                <c:pt idx="1172">
                  <c:v>178.98653157552076</c:v>
                </c:pt>
                <c:pt idx="1173">
                  <c:v>178.96936664633836</c:v>
                </c:pt>
                <c:pt idx="1174">
                  <c:v>178.93339861685013</c:v>
                </c:pt>
                <c:pt idx="1175">
                  <c:v>178.88013211972202</c:v>
                </c:pt>
                <c:pt idx="1176">
                  <c:v>178.74430813259551</c:v>
                </c:pt>
                <c:pt idx="1177">
                  <c:v>178.72717676798516</c:v>
                </c:pt>
                <c:pt idx="1178">
                  <c:v>178.7078418035062</c:v>
                </c:pt>
                <c:pt idx="1179">
                  <c:v>178.68731273092124</c:v>
                </c:pt>
                <c:pt idx="1180">
                  <c:v>178.51490890567311</c:v>
                </c:pt>
                <c:pt idx="1181">
                  <c:v>178.49504564073345</c:v>
                </c:pt>
                <c:pt idx="1182">
                  <c:v>178.41142284154012</c:v>
                </c:pt>
                <c:pt idx="1183">
                  <c:v>178.4003345065646</c:v>
                </c:pt>
                <c:pt idx="1184">
                  <c:v>178.37450784278735</c:v>
                </c:pt>
                <c:pt idx="1185">
                  <c:v>178.32892625596787</c:v>
                </c:pt>
                <c:pt idx="1186">
                  <c:v>178.17242117987735</c:v>
                </c:pt>
                <c:pt idx="1187">
                  <c:v>178.07757077534984</c:v>
                </c:pt>
                <c:pt idx="1188">
                  <c:v>178.05537463655207</c:v>
                </c:pt>
                <c:pt idx="1189">
                  <c:v>178.02559475368935</c:v>
                </c:pt>
                <c:pt idx="1190">
                  <c:v>177.87048754699958</c:v>
                </c:pt>
                <c:pt idx="1191">
                  <c:v>177.78532039006564</c:v>
                </c:pt>
                <c:pt idx="1192">
                  <c:v>177.65696847438812</c:v>
                </c:pt>
                <c:pt idx="1193">
                  <c:v>177.62272196759022</c:v>
                </c:pt>
                <c:pt idx="1194">
                  <c:v>177.53990512424048</c:v>
                </c:pt>
                <c:pt idx="1195">
                  <c:v>177.48208114624003</c:v>
                </c:pt>
                <c:pt idx="1196">
                  <c:v>177.46951435087317</c:v>
                </c:pt>
                <c:pt idx="1197">
                  <c:v>177.32870229085279</c:v>
                </c:pt>
                <c:pt idx="1198">
                  <c:v>177.27423960367832</c:v>
                </c:pt>
                <c:pt idx="1199">
                  <c:v>177.2200201687001</c:v>
                </c:pt>
                <c:pt idx="1200">
                  <c:v>177.18300153942664</c:v>
                </c:pt>
                <c:pt idx="1201">
                  <c:v>177.15080065684538</c:v>
                </c:pt>
                <c:pt idx="1202">
                  <c:v>177.09922986854235</c:v>
                </c:pt>
                <c:pt idx="1203">
                  <c:v>176.97561323377818</c:v>
                </c:pt>
                <c:pt idx="1204">
                  <c:v>176.92548623985806</c:v>
                </c:pt>
                <c:pt idx="1205">
                  <c:v>176.86173299153643</c:v>
                </c:pt>
                <c:pt idx="1206">
                  <c:v>176.83425291401568</c:v>
                </c:pt>
                <c:pt idx="1207">
                  <c:v>176.75848716240012</c:v>
                </c:pt>
                <c:pt idx="1208">
                  <c:v>176.66878390842021</c:v>
                </c:pt>
                <c:pt idx="1209">
                  <c:v>176.65633132848347</c:v>
                </c:pt>
                <c:pt idx="1210">
                  <c:v>176.53721749863189</c:v>
                </c:pt>
                <c:pt idx="1211">
                  <c:v>176.47212923336656</c:v>
                </c:pt>
                <c:pt idx="1212">
                  <c:v>176.31275719071687</c:v>
                </c:pt>
                <c:pt idx="1213">
                  <c:v>176.1063492669</c:v>
                </c:pt>
                <c:pt idx="1214">
                  <c:v>175.9827708247376</c:v>
                </c:pt>
                <c:pt idx="1215">
                  <c:v>175.97286819458009</c:v>
                </c:pt>
                <c:pt idx="1216">
                  <c:v>175.90883829494146</c:v>
                </c:pt>
                <c:pt idx="1217">
                  <c:v>175.63208172510531</c:v>
                </c:pt>
                <c:pt idx="1218">
                  <c:v>175.4948913745186</c:v>
                </c:pt>
                <c:pt idx="1219">
                  <c:v>175.47033470644169</c:v>
                </c:pt>
                <c:pt idx="1220">
                  <c:v>175.36134835133066</c:v>
                </c:pt>
                <c:pt idx="1221">
                  <c:v>175.27622018469037</c:v>
                </c:pt>
                <c:pt idx="1222">
                  <c:v>175.24848632812495</c:v>
                </c:pt>
                <c:pt idx="1223">
                  <c:v>175.22980010330025</c:v>
                </c:pt>
                <c:pt idx="1224">
                  <c:v>175.18372124565963</c:v>
                </c:pt>
                <c:pt idx="1225">
                  <c:v>175.15115889113815</c:v>
                </c:pt>
                <c:pt idx="1226">
                  <c:v>175.02841813829207</c:v>
                </c:pt>
                <c:pt idx="1227">
                  <c:v>175.01362984116429</c:v>
                </c:pt>
                <c:pt idx="1228">
                  <c:v>175.00815754906853</c:v>
                </c:pt>
                <c:pt idx="1229">
                  <c:v>174.80597227234171</c:v>
                </c:pt>
                <c:pt idx="1230">
                  <c:v>174.79183709593099</c:v>
                </c:pt>
                <c:pt idx="1231">
                  <c:v>174.6917615332643</c:v>
                </c:pt>
                <c:pt idx="1232">
                  <c:v>174.63858670195179</c:v>
                </c:pt>
                <c:pt idx="1233">
                  <c:v>174.61796147699692</c:v>
                </c:pt>
                <c:pt idx="1234">
                  <c:v>174.57692374494786</c:v>
                </c:pt>
                <c:pt idx="1235">
                  <c:v>174.5590358776517</c:v>
                </c:pt>
                <c:pt idx="1236">
                  <c:v>174.52603167517714</c:v>
                </c:pt>
                <c:pt idx="1237">
                  <c:v>174.50930650902819</c:v>
                </c:pt>
                <c:pt idx="1238">
                  <c:v>174.47866516113277</c:v>
                </c:pt>
                <c:pt idx="1239">
                  <c:v>174.34364440046647</c:v>
                </c:pt>
                <c:pt idx="1240">
                  <c:v>174.27723213037598</c:v>
                </c:pt>
                <c:pt idx="1241">
                  <c:v>174.24934917366772</c:v>
                </c:pt>
                <c:pt idx="1242">
                  <c:v>174.20864187240591</c:v>
                </c:pt>
                <c:pt idx="1243">
                  <c:v>174.19922170202722</c:v>
                </c:pt>
                <c:pt idx="1244">
                  <c:v>174.13926900227864</c:v>
                </c:pt>
                <c:pt idx="1245">
                  <c:v>174.09057049221462</c:v>
                </c:pt>
                <c:pt idx="1246">
                  <c:v>174.05424889458561</c:v>
                </c:pt>
                <c:pt idx="1247">
                  <c:v>173.58423745958498</c:v>
                </c:pt>
                <c:pt idx="1248">
                  <c:v>173.5629509819878</c:v>
                </c:pt>
                <c:pt idx="1249">
                  <c:v>173.51398441441165</c:v>
                </c:pt>
                <c:pt idx="1250">
                  <c:v>173.51332270869489</c:v>
                </c:pt>
                <c:pt idx="1251">
                  <c:v>173.48267625507572</c:v>
                </c:pt>
                <c:pt idx="1252">
                  <c:v>173.4444142158311</c:v>
                </c:pt>
                <c:pt idx="1253">
                  <c:v>173.32001755610713</c:v>
                </c:pt>
                <c:pt idx="1254">
                  <c:v>173.12880255640198</c:v>
                </c:pt>
                <c:pt idx="1255">
                  <c:v>173.08100351878386</c:v>
                </c:pt>
                <c:pt idx="1256">
                  <c:v>172.99239286810052</c:v>
                </c:pt>
                <c:pt idx="1257">
                  <c:v>172.98254415543306</c:v>
                </c:pt>
                <c:pt idx="1258">
                  <c:v>172.96934982387506</c:v>
                </c:pt>
                <c:pt idx="1259">
                  <c:v>172.96552462820273</c:v>
                </c:pt>
                <c:pt idx="1260">
                  <c:v>172.94287165889023</c:v>
                </c:pt>
                <c:pt idx="1261">
                  <c:v>172.75559583989138</c:v>
                </c:pt>
                <c:pt idx="1262">
                  <c:v>172.71387838170892</c:v>
                </c:pt>
                <c:pt idx="1263">
                  <c:v>172.57531755235459</c:v>
                </c:pt>
                <c:pt idx="1264">
                  <c:v>172.51616877049889</c:v>
                </c:pt>
                <c:pt idx="1265">
                  <c:v>172.42253355505886</c:v>
                </c:pt>
                <c:pt idx="1266">
                  <c:v>172.36968810150574</c:v>
                </c:pt>
                <c:pt idx="1267">
                  <c:v>172.31318725528945</c:v>
                </c:pt>
                <c:pt idx="1268">
                  <c:v>172.28089124891494</c:v>
                </c:pt>
                <c:pt idx="1269">
                  <c:v>172.12842949557012</c:v>
                </c:pt>
                <c:pt idx="1270">
                  <c:v>172.11751311462262</c:v>
                </c:pt>
                <c:pt idx="1271">
                  <c:v>171.88073508094249</c:v>
                </c:pt>
                <c:pt idx="1272">
                  <c:v>171.87959499556928</c:v>
                </c:pt>
                <c:pt idx="1273">
                  <c:v>171.86026117843312</c:v>
                </c:pt>
                <c:pt idx="1274">
                  <c:v>171.85351138644751</c:v>
                </c:pt>
                <c:pt idx="1275">
                  <c:v>171.80722103209064</c:v>
                </c:pt>
                <c:pt idx="1276">
                  <c:v>171.79738281203845</c:v>
                </c:pt>
                <c:pt idx="1277">
                  <c:v>171.78973420319721</c:v>
                </c:pt>
                <c:pt idx="1278">
                  <c:v>171.70471500396729</c:v>
                </c:pt>
                <c:pt idx="1279">
                  <c:v>171.65462409125439</c:v>
                </c:pt>
                <c:pt idx="1280">
                  <c:v>171.61288057967306</c:v>
                </c:pt>
                <c:pt idx="1281">
                  <c:v>171.58731689453134</c:v>
                </c:pt>
                <c:pt idx="1282">
                  <c:v>171.56027974687731</c:v>
                </c:pt>
                <c:pt idx="1283">
                  <c:v>171.55717227659375</c:v>
                </c:pt>
                <c:pt idx="1284">
                  <c:v>171.52370824142736</c:v>
                </c:pt>
                <c:pt idx="1285">
                  <c:v>171.4450381243671</c:v>
                </c:pt>
                <c:pt idx="1286">
                  <c:v>171.41692558758518</c:v>
                </c:pt>
                <c:pt idx="1287">
                  <c:v>171.39986771151553</c:v>
                </c:pt>
                <c:pt idx="1288">
                  <c:v>171.3147988213434</c:v>
                </c:pt>
                <c:pt idx="1289">
                  <c:v>171.21934577772345</c:v>
                </c:pt>
                <c:pt idx="1290">
                  <c:v>171.01038886176207</c:v>
                </c:pt>
                <c:pt idx="1291">
                  <c:v>170.86882035997178</c:v>
                </c:pt>
                <c:pt idx="1292">
                  <c:v>170.8088757669002</c:v>
                </c:pt>
                <c:pt idx="1293">
                  <c:v>170.67271106705994</c:v>
                </c:pt>
                <c:pt idx="1294">
                  <c:v>170.63042045044745</c:v>
                </c:pt>
                <c:pt idx="1295">
                  <c:v>170.58976629681047</c:v>
                </c:pt>
                <c:pt idx="1296">
                  <c:v>170.42835113699732</c:v>
                </c:pt>
                <c:pt idx="1297">
                  <c:v>170.39224834088918</c:v>
                </c:pt>
                <c:pt idx="1298">
                  <c:v>170.30925479156963</c:v>
                </c:pt>
                <c:pt idx="1299">
                  <c:v>169.91379451699163</c:v>
                </c:pt>
                <c:pt idx="1300">
                  <c:v>169.86723238662148</c:v>
                </c:pt>
                <c:pt idx="1301">
                  <c:v>169.81107931983615</c:v>
                </c:pt>
                <c:pt idx="1302">
                  <c:v>169.80935554628968</c:v>
                </c:pt>
                <c:pt idx="1303">
                  <c:v>169.80817252557404</c:v>
                </c:pt>
                <c:pt idx="1304">
                  <c:v>169.72397063555445</c:v>
                </c:pt>
                <c:pt idx="1305">
                  <c:v>169.69184217529369</c:v>
                </c:pt>
                <c:pt idx="1306">
                  <c:v>169.61253233803643</c:v>
                </c:pt>
                <c:pt idx="1307">
                  <c:v>169.55953935242405</c:v>
                </c:pt>
                <c:pt idx="1308">
                  <c:v>169.44768444501506</c:v>
                </c:pt>
                <c:pt idx="1309">
                  <c:v>169.39460122587661</c:v>
                </c:pt>
                <c:pt idx="1310">
                  <c:v>169.30201717916168</c:v>
                </c:pt>
                <c:pt idx="1311">
                  <c:v>169.27795918782545</c:v>
                </c:pt>
                <c:pt idx="1312">
                  <c:v>169.13933258056636</c:v>
                </c:pt>
                <c:pt idx="1313">
                  <c:v>169.12327627866648</c:v>
                </c:pt>
                <c:pt idx="1314">
                  <c:v>169.08689263406677</c:v>
                </c:pt>
                <c:pt idx="1315">
                  <c:v>169.01895260281026</c:v>
                </c:pt>
                <c:pt idx="1316">
                  <c:v>168.99930114746087</c:v>
                </c:pt>
                <c:pt idx="1317">
                  <c:v>168.97687004937075</c:v>
                </c:pt>
                <c:pt idx="1318">
                  <c:v>168.91336585150816</c:v>
                </c:pt>
                <c:pt idx="1319">
                  <c:v>168.90687880701716</c:v>
                </c:pt>
                <c:pt idx="1320">
                  <c:v>168.82908956704614</c:v>
                </c:pt>
                <c:pt idx="1321">
                  <c:v>168.69068790011931</c:v>
                </c:pt>
                <c:pt idx="1322">
                  <c:v>168.60405588087701</c:v>
                </c:pt>
                <c:pt idx="1323">
                  <c:v>168.53586137559682</c:v>
                </c:pt>
                <c:pt idx="1324">
                  <c:v>168.53416716512606</c:v>
                </c:pt>
                <c:pt idx="1325">
                  <c:v>168.53304664894381</c:v>
                </c:pt>
                <c:pt idx="1326">
                  <c:v>168.51994710942745</c:v>
                </c:pt>
                <c:pt idx="1327">
                  <c:v>168.41975657145167</c:v>
                </c:pt>
                <c:pt idx="1328">
                  <c:v>168.34359954897957</c:v>
                </c:pt>
                <c:pt idx="1329">
                  <c:v>168.3365345897837</c:v>
                </c:pt>
                <c:pt idx="1330">
                  <c:v>168.31912816759018</c:v>
                </c:pt>
                <c:pt idx="1331">
                  <c:v>168.28687296010878</c:v>
                </c:pt>
                <c:pt idx="1332">
                  <c:v>168.27893727620449</c:v>
                </c:pt>
                <c:pt idx="1333">
                  <c:v>168.22384745279942</c:v>
                </c:pt>
                <c:pt idx="1334">
                  <c:v>168.04335827297632</c:v>
                </c:pt>
                <c:pt idx="1335">
                  <c:v>168.04137925604687</c:v>
                </c:pt>
                <c:pt idx="1336">
                  <c:v>167.91851052178276</c:v>
                </c:pt>
                <c:pt idx="1337">
                  <c:v>167.89038669564638</c:v>
                </c:pt>
                <c:pt idx="1338">
                  <c:v>167.79883321126295</c:v>
                </c:pt>
                <c:pt idx="1339">
                  <c:v>167.757575800724</c:v>
                </c:pt>
                <c:pt idx="1340">
                  <c:v>167.74530433579991</c:v>
                </c:pt>
                <c:pt idx="1341">
                  <c:v>167.49451243082672</c:v>
                </c:pt>
                <c:pt idx="1342">
                  <c:v>167.48290709771049</c:v>
                </c:pt>
                <c:pt idx="1343">
                  <c:v>167.35155775748876</c:v>
                </c:pt>
                <c:pt idx="1344">
                  <c:v>167.24977237601115</c:v>
                </c:pt>
                <c:pt idx="1345">
                  <c:v>167.17989773220484</c:v>
                </c:pt>
                <c:pt idx="1346">
                  <c:v>167.06857096354156</c:v>
                </c:pt>
                <c:pt idx="1347">
                  <c:v>167.06109310928264</c:v>
                </c:pt>
                <c:pt idx="1348">
                  <c:v>166.94079559675242</c:v>
                </c:pt>
                <c:pt idx="1349">
                  <c:v>166.91460003323027</c:v>
                </c:pt>
                <c:pt idx="1350">
                  <c:v>166.90710652236532</c:v>
                </c:pt>
                <c:pt idx="1351">
                  <c:v>166.89066179063593</c:v>
                </c:pt>
                <c:pt idx="1352">
                  <c:v>166.84512651231569</c:v>
                </c:pt>
                <c:pt idx="1353">
                  <c:v>166.84212086995444</c:v>
                </c:pt>
                <c:pt idx="1354">
                  <c:v>166.70979877193508</c:v>
                </c:pt>
                <c:pt idx="1355">
                  <c:v>166.6679672368125</c:v>
                </c:pt>
                <c:pt idx="1356">
                  <c:v>166.66181131998701</c:v>
                </c:pt>
                <c:pt idx="1357">
                  <c:v>166.66063232634997</c:v>
                </c:pt>
                <c:pt idx="1358">
                  <c:v>166.63334420046533</c:v>
                </c:pt>
                <c:pt idx="1359">
                  <c:v>166.57670176792453</c:v>
                </c:pt>
                <c:pt idx="1360">
                  <c:v>166.51379869249126</c:v>
                </c:pt>
                <c:pt idx="1361">
                  <c:v>166.46716935899531</c:v>
                </c:pt>
                <c:pt idx="1362">
                  <c:v>166.39037221272781</c:v>
                </c:pt>
                <c:pt idx="1363">
                  <c:v>166.34404245500605</c:v>
                </c:pt>
                <c:pt idx="1364">
                  <c:v>166.25400969293969</c:v>
                </c:pt>
                <c:pt idx="1365">
                  <c:v>166.15845507567906</c:v>
                </c:pt>
                <c:pt idx="1366">
                  <c:v>166.07756709346063</c:v>
                </c:pt>
                <c:pt idx="1367">
                  <c:v>166.07415110270176</c:v>
                </c:pt>
                <c:pt idx="1368">
                  <c:v>165.90470015367146</c:v>
                </c:pt>
                <c:pt idx="1369">
                  <c:v>165.86217566596133</c:v>
                </c:pt>
                <c:pt idx="1370">
                  <c:v>165.8419581095377</c:v>
                </c:pt>
                <c:pt idx="1371">
                  <c:v>165.81190261840811</c:v>
                </c:pt>
                <c:pt idx="1372">
                  <c:v>165.61844256800464</c:v>
                </c:pt>
                <c:pt idx="1373">
                  <c:v>165.35570185607799</c:v>
                </c:pt>
                <c:pt idx="1374">
                  <c:v>165.29806966569686</c:v>
                </c:pt>
                <c:pt idx="1375">
                  <c:v>165.27728966606992</c:v>
                </c:pt>
                <c:pt idx="1376">
                  <c:v>165.27082019382044</c:v>
                </c:pt>
                <c:pt idx="1377">
                  <c:v>165.26675423516167</c:v>
                </c:pt>
                <c:pt idx="1378">
                  <c:v>165.23933444552949</c:v>
                </c:pt>
                <c:pt idx="1379">
                  <c:v>165.22790501695079</c:v>
                </c:pt>
                <c:pt idx="1380">
                  <c:v>165.20269037882485</c:v>
                </c:pt>
                <c:pt idx="1381">
                  <c:v>165.19184752316914</c:v>
                </c:pt>
                <c:pt idx="1382">
                  <c:v>165.18221667805483</c:v>
                </c:pt>
                <c:pt idx="1383">
                  <c:v>165.11466946072051</c:v>
                </c:pt>
                <c:pt idx="1384">
                  <c:v>164.83533816867396</c:v>
                </c:pt>
                <c:pt idx="1385">
                  <c:v>164.72566358778204</c:v>
                </c:pt>
                <c:pt idx="1386">
                  <c:v>164.69542161338359</c:v>
                </c:pt>
                <c:pt idx="1387">
                  <c:v>164.67669480501172</c:v>
                </c:pt>
                <c:pt idx="1388">
                  <c:v>164.59978892008462</c:v>
                </c:pt>
                <c:pt idx="1389">
                  <c:v>164.5333941647084</c:v>
                </c:pt>
                <c:pt idx="1390">
                  <c:v>164.49372999403204</c:v>
                </c:pt>
                <c:pt idx="1391">
                  <c:v>164.4672445509168</c:v>
                </c:pt>
                <c:pt idx="1392">
                  <c:v>164.42869941756703</c:v>
                </c:pt>
                <c:pt idx="1393">
                  <c:v>164.33036465115015</c:v>
                </c:pt>
                <c:pt idx="1394">
                  <c:v>164.19700913424845</c:v>
                </c:pt>
                <c:pt idx="1395">
                  <c:v>164.19087990654839</c:v>
                </c:pt>
                <c:pt idx="1396">
                  <c:v>164.15207824707022</c:v>
                </c:pt>
                <c:pt idx="1397">
                  <c:v>164.05384738023827</c:v>
                </c:pt>
                <c:pt idx="1398">
                  <c:v>163.98915448608682</c:v>
                </c:pt>
                <c:pt idx="1399">
                  <c:v>163.97740135194044</c:v>
                </c:pt>
                <c:pt idx="1400">
                  <c:v>163.96642919212877</c:v>
                </c:pt>
                <c:pt idx="1401">
                  <c:v>163.95229211191145</c:v>
                </c:pt>
                <c:pt idx="1402">
                  <c:v>163.92123037623787</c:v>
                </c:pt>
                <c:pt idx="1403">
                  <c:v>163.86313606616318</c:v>
                </c:pt>
                <c:pt idx="1404">
                  <c:v>163.85360963493349</c:v>
                </c:pt>
                <c:pt idx="1405">
                  <c:v>163.76974131266275</c:v>
                </c:pt>
                <c:pt idx="1406">
                  <c:v>163.73852878146704</c:v>
                </c:pt>
                <c:pt idx="1407">
                  <c:v>163.645969136556</c:v>
                </c:pt>
                <c:pt idx="1408">
                  <c:v>163.63145845201279</c:v>
                </c:pt>
                <c:pt idx="1409">
                  <c:v>163.61534669664172</c:v>
                </c:pt>
                <c:pt idx="1410">
                  <c:v>163.59272918701174</c:v>
                </c:pt>
                <c:pt idx="1411">
                  <c:v>163.5188245137532</c:v>
                </c:pt>
                <c:pt idx="1412">
                  <c:v>163.48060520313413</c:v>
                </c:pt>
                <c:pt idx="1413">
                  <c:v>163.47055664062498</c:v>
                </c:pt>
                <c:pt idx="1414">
                  <c:v>163.35136998494465</c:v>
                </c:pt>
                <c:pt idx="1415">
                  <c:v>163.30542331271715</c:v>
                </c:pt>
                <c:pt idx="1416">
                  <c:v>163.27467456393777</c:v>
                </c:pt>
                <c:pt idx="1417">
                  <c:v>163.25441515304772</c:v>
                </c:pt>
                <c:pt idx="1418">
                  <c:v>163.21197019742829</c:v>
                </c:pt>
                <c:pt idx="1419">
                  <c:v>163.19203946195239</c:v>
                </c:pt>
                <c:pt idx="1420">
                  <c:v>163.11225773737988</c:v>
                </c:pt>
                <c:pt idx="1421">
                  <c:v>163.10157569350099</c:v>
                </c:pt>
                <c:pt idx="1422">
                  <c:v>163.04339599609375</c:v>
                </c:pt>
                <c:pt idx="1423">
                  <c:v>163.04339599609375</c:v>
                </c:pt>
                <c:pt idx="1424">
                  <c:v>163.04339599609375</c:v>
                </c:pt>
                <c:pt idx="1425">
                  <c:v>163.01982456388942</c:v>
                </c:pt>
                <c:pt idx="1426">
                  <c:v>163.01905658373835</c:v>
                </c:pt>
                <c:pt idx="1427">
                  <c:v>163.00016797646197</c:v>
                </c:pt>
                <c:pt idx="1428">
                  <c:v>162.94178500705289</c:v>
                </c:pt>
                <c:pt idx="1429">
                  <c:v>162.92886721293132</c:v>
                </c:pt>
                <c:pt idx="1430">
                  <c:v>162.87709628340099</c:v>
                </c:pt>
                <c:pt idx="1431">
                  <c:v>162.84774086727975</c:v>
                </c:pt>
                <c:pt idx="1432">
                  <c:v>162.78727418961967</c:v>
                </c:pt>
                <c:pt idx="1433">
                  <c:v>162.75295945263701</c:v>
                </c:pt>
                <c:pt idx="1434">
                  <c:v>162.74083179538525</c:v>
                </c:pt>
                <c:pt idx="1435">
                  <c:v>162.49836614817127</c:v>
                </c:pt>
                <c:pt idx="1436">
                  <c:v>162.48689485580189</c:v>
                </c:pt>
                <c:pt idx="1437">
                  <c:v>162.45787965234456</c:v>
                </c:pt>
                <c:pt idx="1438">
                  <c:v>162.406110625059</c:v>
                </c:pt>
                <c:pt idx="1439">
                  <c:v>162.37838148061292</c:v>
                </c:pt>
                <c:pt idx="1440">
                  <c:v>162.11500033770017</c:v>
                </c:pt>
                <c:pt idx="1441">
                  <c:v>162.11474345947192</c:v>
                </c:pt>
                <c:pt idx="1442">
                  <c:v>162.08806201534844</c:v>
                </c:pt>
                <c:pt idx="1443">
                  <c:v>162.04219214362615</c:v>
                </c:pt>
                <c:pt idx="1444">
                  <c:v>161.89133858060723</c:v>
                </c:pt>
                <c:pt idx="1445">
                  <c:v>161.72175967982878</c:v>
                </c:pt>
                <c:pt idx="1446">
                  <c:v>161.67749387953018</c:v>
                </c:pt>
                <c:pt idx="1447">
                  <c:v>161.41426598235478</c:v>
                </c:pt>
                <c:pt idx="1448">
                  <c:v>161.3484674567851</c:v>
                </c:pt>
                <c:pt idx="1449">
                  <c:v>161.33656020949343</c:v>
                </c:pt>
                <c:pt idx="1450">
                  <c:v>161.3050195482042</c:v>
                </c:pt>
                <c:pt idx="1451">
                  <c:v>161.09711481730142</c:v>
                </c:pt>
                <c:pt idx="1452">
                  <c:v>161.03803881620752</c:v>
                </c:pt>
                <c:pt idx="1453">
                  <c:v>161.00429484049482</c:v>
                </c:pt>
                <c:pt idx="1454">
                  <c:v>160.81888611141562</c:v>
                </c:pt>
                <c:pt idx="1455">
                  <c:v>160.63000177869617</c:v>
                </c:pt>
                <c:pt idx="1456">
                  <c:v>160.62895647967298</c:v>
                </c:pt>
                <c:pt idx="1457">
                  <c:v>160.62711775037974</c:v>
                </c:pt>
                <c:pt idx="1458">
                  <c:v>160.51556837293833</c:v>
                </c:pt>
                <c:pt idx="1459">
                  <c:v>160.51035011798331</c:v>
                </c:pt>
                <c:pt idx="1460">
                  <c:v>160.50602255737749</c:v>
                </c:pt>
                <c:pt idx="1461">
                  <c:v>160.45532971278612</c:v>
                </c:pt>
                <c:pt idx="1462">
                  <c:v>160.3887126216182</c:v>
                </c:pt>
                <c:pt idx="1463">
                  <c:v>160.18468012745393</c:v>
                </c:pt>
                <c:pt idx="1464">
                  <c:v>160.14881042516913</c:v>
                </c:pt>
                <c:pt idx="1465">
                  <c:v>160.01958932908065</c:v>
                </c:pt>
                <c:pt idx="1466">
                  <c:v>159.91905307514776</c:v>
                </c:pt>
                <c:pt idx="1467">
                  <c:v>159.77508633744947</c:v>
                </c:pt>
                <c:pt idx="1468">
                  <c:v>159.67967349946548</c:v>
                </c:pt>
                <c:pt idx="1469">
                  <c:v>159.50992787986866</c:v>
                </c:pt>
                <c:pt idx="1470">
                  <c:v>159.44886016845703</c:v>
                </c:pt>
                <c:pt idx="1471">
                  <c:v>159.43022369769506</c:v>
                </c:pt>
                <c:pt idx="1472">
                  <c:v>159.42572148640943</c:v>
                </c:pt>
                <c:pt idx="1473">
                  <c:v>159.36428398143335</c:v>
                </c:pt>
                <c:pt idx="1474">
                  <c:v>159.2468653361002</c:v>
                </c:pt>
                <c:pt idx="1475">
                  <c:v>159.24459109836152</c:v>
                </c:pt>
                <c:pt idx="1476">
                  <c:v>159.21209350960942</c:v>
                </c:pt>
                <c:pt idx="1477">
                  <c:v>159.10974782307949</c:v>
                </c:pt>
                <c:pt idx="1478">
                  <c:v>159.00375592873434</c:v>
                </c:pt>
                <c:pt idx="1479">
                  <c:v>158.98015807695992</c:v>
                </c:pt>
                <c:pt idx="1480">
                  <c:v>158.92352193196621</c:v>
                </c:pt>
                <c:pt idx="1481">
                  <c:v>158.86848267661196</c:v>
                </c:pt>
                <c:pt idx="1482">
                  <c:v>158.8564036334003</c:v>
                </c:pt>
                <c:pt idx="1483">
                  <c:v>158.77939635488178</c:v>
                </c:pt>
                <c:pt idx="1484">
                  <c:v>158.64778688218848</c:v>
                </c:pt>
                <c:pt idx="1485">
                  <c:v>158.50039037068677</c:v>
                </c:pt>
                <c:pt idx="1486">
                  <c:v>158.49949637518989</c:v>
                </c:pt>
                <c:pt idx="1487">
                  <c:v>158.46347174171035</c:v>
                </c:pt>
                <c:pt idx="1488">
                  <c:v>158.402339983101</c:v>
                </c:pt>
                <c:pt idx="1489">
                  <c:v>158.38290419007308</c:v>
                </c:pt>
                <c:pt idx="1490">
                  <c:v>158.30556954230656</c:v>
                </c:pt>
                <c:pt idx="1491">
                  <c:v>158.16867158677837</c:v>
                </c:pt>
                <c:pt idx="1492">
                  <c:v>157.92444392490893</c:v>
                </c:pt>
                <c:pt idx="1493">
                  <c:v>157.8794208382169</c:v>
                </c:pt>
                <c:pt idx="1494">
                  <c:v>157.86783650141433</c:v>
                </c:pt>
                <c:pt idx="1495">
                  <c:v>157.65723353068029</c:v>
                </c:pt>
                <c:pt idx="1496">
                  <c:v>157.65120710513679</c:v>
                </c:pt>
                <c:pt idx="1497">
                  <c:v>157.62719944746311</c:v>
                </c:pt>
                <c:pt idx="1498">
                  <c:v>157.60597069038988</c:v>
                </c:pt>
                <c:pt idx="1499">
                  <c:v>157.17576776361057</c:v>
                </c:pt>
                <c:pt idx="1500">
                  <c:v>157.10492824978292</c:v>
                </c:pt>
                <c:pt idx="1501">
                  <c:v>157.0004613153144</c:v>
                </c:pt>
                <c:pt idx="1502">
                  <c:v>156.99359017862889</c:v>
                </c:pt>
                <c:pt idx="1503">
                  <c:v>156.92535033425384</c:v>
                </c:pt>
                <c:pt idx="1504">
                  <c:v>156.90040037603876</c:v>
                </c:pt>
                <c:pt idx="1505">
                  <c:v>156.81339578350435</c:v>
                </c:pt>
                <c:pt idx="1506">
                  <c:v>156.8062620374892</c:v>
                </c:pt>
                <c:pt idx="1507">
                  <c:v>156.60243242051865</c:v>
                </c:pt>
                <c:pt idx="1508">
                  <c:v>156.51598067389591</c:v>
                </c:pt>
                <c:pt idx="1509">
                  <c:v>156.3846566942002</c:v>
                </c:pt>
                <c:pt idx="1510">
                  <c:v>156.31055026584204</c:v>
                </c:pt>
                <c:pt idx="1511">
                  <c:v>156.15207080764981</c:v>
                </c:pt>
                <c:pt idx="1512">
                  <c:v>156.10763128492567</c:v>
                </c:pt>
                <c:pt idx="1513">
                  <c:v>156.08179168701167</c:v>
                </c:pt>
                <c:pt idx="1514">
                  <c:v>156.00859747072036</c:v>
                </c:pt>
                <c:pt idx="1515">
                  <c:v>155.98450629926242</c:v>
                </c:pt>
                <c:pt idx="1516">
                  <c:v>155.94146440294048</c:v>
                </c:pt>
                <c:pt idx="1517">
                  <c:v>155.86097165231445</c:v>
                </c:pt>
                <c:pt idx="1518">
                  <c:v>155.79402678999827</c:v>
                </c:pt>
                <c:pt idx="1519">
                  <c:v>155.74555417806107</c:v>
                </c:pt>
                <c:pt idx="1520">
                  <c:v>155.63100950453008</c:v>
                </c:pt>
                <c:pt idx="1521">
                  <c:v>155.61107469271019</c:v>
                </c:pt>
                <c:pt idx="1522">
                  <c:v>155.57720404730912</c:v>
                </c:pt>
                <c:pt idx="1523">
                  <c:v>155.4412293918358</c:v>
                </c:pt>
                <c:pt idx="1524">
                  <c:v>155.42104281917409</c:v>
                </c:pt>
                <c:pt idx="1525">
                  <c:v>155.37832743326828</c:v>
                </c:pt>
                <c:pt idx="1526">
                  <c:v>155.37009165483846</c:v>
                </c:pt>
                <c:pt idx="1527">
                  <c:v>155.33232533328851</c:v>
                </c:pt>
                <c:pt idx="1528">
                  <c:v>155.13493057389383</c:v>
                </c:pt>
                <c:pt idx="1529">
                  <c:v>155.01319113656177</c:v>
                </c:pt>
                <c:pt idx="1530">
                  <c:v>155.00334659152554</c:v>
                </c:pt>
                <c:pt idx="1531">
                  <c:v>155.00204886181564</c:v>
                </c:pt>
                <c:pt idx="1532">
                  <c:v>154.9778089788224</c:v>
                </c:pt>
                <c:pt idx="1533">
                  <c:v>154.95485806154568</c:v>
                </c:pt>
                <c:pt idx="1534">
                  <c:v>154.95443886650924</c:v>
                </c:pt>
                <c:pt idx="1535">
                  <c:v>154.92123307297265</c:v>
                </c:pt>
                <c:pt idx="1536">
                  <c:v>154.75762107283981</c:v>
                </c:pt>
                <c:pt idx="1537">
                  <c:v>154.61332551561168</c:v>
                </c:pt>
                <c:pt idx="1538">
                  <c:v>154.54526424831806</c:v>
                </c:pt>
                <c:pt idx="1539">
                  <c:v>154.37866424541653</c:v>
                </c:pt>
                <c:pt idx="1540">
                  <c:v>154.23045450846348</c:v>
                </c:pt>
                <c:pt idx="1541">
                  <c:v>154.23041860700505</c:v>
                </c:pt>
                <c:pt idx="1542">
                  <c:v>154.1552260529761</c:v>
                </c:pt>
                <c:pt idx="1543">
                  <c:v>154.06022037119783</c:v>
                </c:pt>
                <c:pt idx="1544">
                  <c:v>154.04777899848091</c:v>
                </c:pt>
                <c:pt idx="1545">
                  <c:v>153.99458369444937</c:v>
                </c:pt>
                <c:pt idx="1546">
                  <c:v>153.90882178412539</c:v>
                </c:pt>
                <c:pt idx="1547">
                  <c:v>153.82781592475044</c:v>
                </c:pt>
                <c:pt idx="1548">
                  <c:v>153.75596943147355</c:v>
                </c:pt>
                <c:pt idx="1549">
                  <c:v>153.72840745713972</c:v>
                </c:pt>
                <c:pt idx="1550">
                  <c:v>153.69737726847325</c:v>
                </c:pt>
                <c:pt idx="1551">
                  <c:v>153.66433779147701</c:v>
                </c:pt>
                <c:pt idx="1552">
                  <c:v>153.62233890095217</c:v>
                </c:pt>
                <c:pt idx="1553">
                  <c:v>153.5115954575715</c:v>
                </c:pt>
                <c:pt idx="1554">
                  <c:v>153.45649369282307</c:v>
                </c:pt>
                <c:pt idx="1555">
                  <c:v>153.45599969024727</c:v>
                </c:pt>
                <c:pt idx="1556">
                  <c:v>153.41740551742851</c:v>
                </c:pt>
                <c:pt idx="1557">
                  <c:v>153.38776673123061</c:v>
                </c:pt>
                <c:pt idx="1558">
                  <c:v>153.31059355459684</c:v>
                </c:pt>
                <c:pt idx="1559">
                  <c:v>153.22536759270565</c:v>
                </c:pt>
                <c:pt idx="1560">
                  <c:v>153.22508746629887</c:v>
                </c:pt>
                <c:pt idx="1561">
                  <c:v>153.21508868760634</c:v>
                </c:pt>
                <c:pt idx="1562">
                  <c:v>153.21053900102015</c:v>
                </c:pt>
                <c:pt idx="1563">
                  <c:v>153.16237284342446</c:v>
                </c:pt>
                <c:pt idx="1564">
                  <c:v>153.16010538736975</c:v>
                </c:pt>
                <c:pt idx="1565">
                  <c:v>152.9774360353199</c:v>
                </c:pt>
                <c:pt idx="1566">
                  <c:v>152.95251004254374</c:v>
                </c:pt>
                <c:pt idx="1567">
                  <c:v>152.8126189337836</c:v>
                </c:pt>
                <c:pt idx="1568">
                  <c:v>152.72840809009699</c:v>
                </c:pt>
                <c:pt idx="1569">
                  <c:v>152.70458119710293</c:v>
                </c:pt>
                <c:pt idx="1570">
                  <c:v>152.40181900919242</c:v>
                </c:pt>
                <c:pt idx="1571">
                  <c:v>152.27685089111333</c:v>
                </c:pt>
                <c:pt idx="1572">
                  <c:v>152.24099299112959</c:v>
                </c:pt>
                <c:pt idx="1573">
                  <c:v>152.13491080597532</c:v>
                </c:pt>
                <c:pt idx="1574">
                  <c:v>152.09347621673794</c:v>
                </c:pt>
                <c:pt idx="1575">
                  <c:v>152.09260580665614</c:v>
                </c:pt>
                <c:pt idx="1576">
                  <c:v>152.09004542531534</c:v>
                </c:pt>
                <c:pt idx="1577">
                  <c:v>152.08640999569946</c:v>
                </c:pt>
                <c:pt idx="1578">
                  <c:v>152.07124446924172</c:v>
                </c:pt>
                <c:pt idx="1579">
                  <c:v>151.82441084120012</c:v>
                </c:pt>
                <c:pt idx="1580">
                  <c:v>151.80354201987939</c:v>
                </c:pt>
                <c:pt idx="1581">
                  <c:v>151.63690872192387</c:v>
                </c:pt>
                <c:pt idx="1582">
                  <c:v>151.16587744818798</c:v>
                </c:pt>
                <c:pt idx="1583">
                  <c:v>151.08711484190644</c:v>
                </c:pt>
                <c:pt idx="1584">
                  <c:v>150.99245605468752</c:v>
                </c:pt>
                <c:pt idx="1585">
                  <c:v>150.9699500189887</c:v>
                </c:pt>
                <c:pt idx="1586">
                  <c:v>150.8967955786361</c:v>
                </c:pt>
                <c:pt idx="1587">
                  <c:v>150.83375269571945</c:v>
                </c:pt>
                <c:pt idx="1588">
                  <c:v>150.75770644514489</c:v>
                </c:pt>
                <c:pt idx="1589">
                  <c:v>150.63247972208262</c:v>
                </c:pt>
                <c:pt idx="1590">
                  <c:v>150.59276185358931</c:v>
                </c:pt>
                <c:pt idx="1591">
                  <c:v>150.43110894097219</c:v>
                </c:pt>
                <c:pt idx="1592">
                  <c:v>150.3265378088206</c:v>
                </c:pt>
                <c:pt idx="1593">
                  <c:v>150.28192033555774</c:v>
                </c:pt>
                <c:pt idx="1594">
                  <c:v>150.16959491006696</c:v>
                </c:pt>
                <c:pt idx="1595">
                  <c:v>150.11932547675235</c:v>
                </c:pt>
                <c:pt idx="1596">
                  <c:v>150.0648220803082</c:v>
                </c:pt>
                <c:pt idx="1597">
                  <c:v>150.03154783460832</c:v>
                </c:pt>
                <c:pt idx="1598">
                  <c:v>149.92232167561849</c:v>
                </c:pt>
                <c:pt idx="1599">
                  <c:v>149.91130682799735</c:v>
                </c:pt>
                <c:pt idx="1600">
                  <c:v>149.77565997301645</c:v>
                </c:pt>
                <c:pt idx="1601">
                  <c:v>149.67329950230658</c:v>
                </c:pt>
                <c:pt idx="1602">
                  <c:v>149.63954416910815</c:v>
                </c:pt>
                <c:pt idx="1603">
                  <c:v>149.59053599039726</c:v>
                </c:pt>
                <c:pt idx="1604">
                  <c:v>149.56122216118706</c:v>
                </c:pt>
                <c:pt idx="1605">
                  <c:v>149.40341115489605</c:v>
                </c:pt>
                <c:pt idx="1606">
                  <c:v>149.39804806179473</c:v>
                </c:pt>
                <c:pt idx="1607">
                  <c:v>149.1625946898821</c:v>
                </c:pt>
                <c:pt idx="1608">
                  <c:v>149.08563774956588</c:v>
                </c:pt>
                <c:pt idx="1609">
                  <c:v>149.07843627929697</c:v>
                </c:pt>
                <c:pt idx="1610">
                  <c:v>149.07287310768152</c:v>
                </c:pt>
                <c:pt idx="1611">
                  <c:v>149.07039533839088</c:v>
                </c:pt>
                <c:pt idx="1612">
                  <c:v>149.06904862782244</c:v>
                </c:pt>
                <c:pt idx="1613">
                  <c:v>148.9869944254558</c:v>
                </c:pt>
                <c:pt idx="1614">
                  <c:v>148.91602586132478</c:v>
                </c:pt>
                <c:pt idx="1615">
                  <c:v>148.91328019591106</c:v>
                </c:pt>
                <c:pt idx="1616">
                  <c:v>148.89360351562505</c:v>
                </c:pt>
                <c:pt idx="1617">
                  <c:v>148.89355248632637</c:v>
                </c:pt>
                <c:pt idx="1618">
                  <c:v>148.84613456455759</c:v>
                </c:pt>
                <c:pt idx="1619">
                  <c:v>148.80479446158392</c:v>
                </c:pt>
                <c:pt idx="1620">
                  <c:v>148.74096408420144</c:v>
                </c:pt>
                <c:pt idx="1621">
                  <c:v>148.69710048141735</c:v>
                </c:pt>
                <c:pt idx="1622">
                  <c:v>148.62946487127579</c:v>
                </c:pt>
                <c:pt idx="1623">
                  <c:v>148.36102163157511</c:v>
                </c:pt>
                <c:pt idx="1624">
                  <c:v>147.99100054879466</c:v>
                </c:pt>
                <c:pt idx="1625">
                  <c:v>147.92837105757269</c:v>
                </c:pt>
                <c:pt idx="1626">
                  <c:v>147.87678553263345</c:v>
                </c:pt>
                <c:pt idx="1627">
                  <c:v>147.87174818250867</c:v>
                </c:pt>
                <c:pt idx="1628">
                  <c:v>147.85989591810437</c:v>
                </c:pt>
                <c:pt idx="1629">
                  <c:v>147.7752926619595</c:v>
                </c:pt>
                <c:pt idx="1630">
                  <c:v>147.77064865264526</c:v>
                </c:pt>
                <c:pt idx="1631">
                  <c:v>147.7577181832454</c:v>
                </c:pt>
                <c:pt idx="1632">
                  <c:v>147.72878706616552</c:v>
                </c:pt>
                <c:pt idx="1633">
                  <c:v>147.70960867042368</c:v>
                </c:pt>
                <c:pt idx="1634">
                  <c:v>147.69000006781687</c:v>
                </c:pt>
                <c:pt idx="1635">
                  <c:v>147.42424562242297</c:v>
                </c:pt>
                <c:pt idx="1636">
                  <c:v>147.41570508203563</c:v>
                </c:pt>
                <c:pt idx="1637">
                  <c:v>147.33343080281134</c:v>
                </c:pt>
                <c:pt idx="1638">
                  <c:v>147.28405483061078</c:v>
                </c:pt>
                <c:pt idx="1639">
                  <c:v>147.12828317571575</c:v>
                </c:pt>
                <c:pt idx="1640">
                  <c:v>147.11455443820864</c:v>
                </c:pt>
                <c:pt idx="1641">
                  <c:v>146.97003334327974</c:v>
                </c:pt>
                <c:pt idx="1642">
                  <c:v>146.92216462318891</c:v>
                </c:pt>
                <c:pt idx="1643">
                  <c:v>146.90840079997179</c:v>
                </c:pt>
                <c:pt idx="1644">
                  <c:v>146.85220213820901</c:v>
                </c:pt>
                <c:pt idx="1645">
                  <c:v>146.70366167157886</c:v>
                </c:pt>
                <c:pt idx="1646">
                  <c:v>146.53515030201379</c:v>
                </c:pt>
                <c:pt idx="1647">
                  <c:v>146.47226486206057</c:v>
                </c:pt>
                <c:pt idx="1648">
                  <c:v>146.41887130595637</c:v>
                </c:pt>
                <c:pt idx="1649">
                  <c:v>146.32929893573521</c:v>
                </c:pt>
                <c:pt idx="1650">
                  <c:v>146.13068160773946</c:v>
                </c:pt>
                <c:pt idx="1651">
                  <c:v>146.01039250864733</c:v>
                </c:pt>
                <c:pt idx="1652">
                  <c:v>145.7833964877658</c:v>
                </c:pt>
                <c:pt idx="1653">
                  <c:v>145.77820829361212</c:v>
                </c:pt>
                <c:pt idx="1654">
                  <c:v>145.71912951999229</c:v>
                </c:pt>
                <c:pt idx="1655">
                  <c:v>145.68801058934741</c:v>
                </c:pt>
                <c:pt idx="1656">
                  <c:v>145.57852240668399</c:v>
                </c:pt>
                <c:pt idx="1657">
                  <c:v>145.41228391859272</c:v>
                </c:pt>
                <c:pt idx="1658">
                  <c:v>145.3889169481065</c:v>
                </c:pt>
                <c:pt idx="1659">
                  <c:v>145.38607855902774</c:v>
                </c:pt>
                <c:pt idx="1660">
                  <c:v>145.34673799956386</c:v>
                </c:pt>
                <c:pt idx="1661">
                  <c:v>145.28732406000449</c:v>
                </c:pt>
                <c:pt idx="1662">
                  <c:v>145.18506156073681</c:v>
                </c:pt>
                <c:pt idx="1663">
                  <c:v>145.17506860803678</c:v>
                </c:pt>
                <c:pt idx="1664">
                  <c:v>145.13656119678433</c:v>
                </c:pt>
                <c:pt idx="1665">
                  <c:v>145.04775238037109</c:v>
                </c:pt>
                <c:pt idx="1666">
                  <c:v>144.98195716010196</c:v>
                </c:pt>
                <c:pt idx="1667">
                  <c:v>144.88776304456928</c:v>
                </c:pt>
                <c:pt idx="1668">
                  <c:v>144.76876599633295</c:v>
                </c:pt>
                <c:pt idx="1669">
                  <c:v>144.67222881262796</c:v>
                </c:pt>
                <c:pt idx="1670">
                  <c:v>144.45365109605859</c:v>
                </c:pt>
                <c:pt idx="1671">
                  <c:v>144.2487288519435</c:v>
                </c:pt>
                <c:pt idx="1672">
                  <c:v>144.05441949632427</c:v>
                </c:pt>
                <c:pt idx="1673">
                  <c:v>144.04198900609231</c:v>
                </c:pt>
                <c:pt idx="1674">
                  <c:v>144.02025376760287</c:v>
                </c:pt>
                <c:pt idx="1675">
                  <c:v>143.79278298951954</c:v>
                </c:pt>
                <c:pt idx="1676">
                  <c:v>143.76558939615882</c:v>
                </c:pt>
                <c:pt idx="1677">
                  <c:v>143.7248715911694</c:v>
                </c:pt>
                <c:pt idx="1678">
                  <c:v>143.70578036838106</c:v>
                </c:pt>
                <c:pt idx="1679">
                  <c:v>143.54017189873593</c:v>
                </c:pt>
                <c:pt idx="1680">
                  <c:v>143.53616892496746</c:v>
                </c:pt>
                <c:pt idx="1681">
                  <c:v>143.50253434318472</c:v>
                </c:pt>
                <c:pt idx="1682">
                  <c:v>143.47127920687512</c:v>
                </c:pt>
                <c:pt idx="1683">
                  <c:v>143.31406080457896</c:v>
                </c:pt>
                <c:pt idx="1684">
                  <c:v>143.30768668216865</c:v>
                </c:pt>
                <c:pt idx="1685">
                  <c:v>143.29699119293809</c:v>
                </c:pt>
                <c:pt idx="1686">
                  <c:v>143.26885074568384</c:v>
                </c:pt>
                <c:pt idx="1687">
                  <c:v>143.22182258715077</c:v>
                </c:pt>
                <c:pt idx="1688">
                  <c:v>143.10989532470705</c:v>
                </c:pt>
                <c:pt idx="1689">
                  <c:v>142.92111984505812</c:v>
                </c:pt>
                <c:pt idx="1690">
                  <c:v>142.90410480499258</c:v>
                </c:pt>
                <c:pt idx="1691">
                  <c:v>142.89125135597214</c:v>
                </c:pt>
                <c:pt idx="1692">
                  <c:v>142.85774305131702</c:v>
                </c:pt>
                <c:pt idx="1693">
                  <c:v>142.83257658216689</c:v>
                </c:pt>
                <c:pt idx="1694">
                  <c:v>142.83250875469366</c:v>
                </c:pt>
                <c:pt idx="1695">
                  <c:v>142.80993156584668</c:v>
                </c:pt>
                <c:pt idx="1696">
                  <c:v>142.73062029536459</c:v>
                </c:pt>
                <c:pt idx="1697">
                  <c:v>142.62395434909399</c:v>
                </c:pt>
                <c:pt idx="1698">
                  <c:v>142.57622348145128</c:v>
                </c:pt>
                <c:pt idx="1699">
                  <c:v>142.50371401962354</c:v>
                </c:pt>
                <c:pt idx="1700">
                  <c:v>142.48104956490647</c:v>
                </c:pt>
                <c:pt idx="1701">
                  <c:v>142.46264427511824</c:v>
                </c:pt>
                <c:pt idx="1702">
                  <c:v>142.43781649446782</c:v>
                </c:pt>
                <c:pt idx="1703">
                  <c:v>142.39915964762372</c:v>
                </c:pt>
                <c:pt idx="1704">
                  <c:v>142.34230650882694</c:v>
                </c:pt>
                <c:pt idx="1705">
                  <c:v>142.33439350619574</c:v>
                </c:pt>
                <c:pt idx="1706">
                  <c:v>142.23073000281101</c:v>
                </c:pt>
                <c:pt idx="1707">
                  <c:v>142.13961916767767</c:v>
                </c:pt>
                <c:pt idx="1708">
                  <c:v>142.13271239037601</c:v>
                </c:pt>
                <c:pt idx="1709">
                  <c:v>142.11194051884922</c:v>
                </c:pt>
                <c:pt idx="1710">
                  <c:v>142.1069905329017</c:v>
                </c:pt>
                <c:pt idx="1711">
                  <c:v>142.10315013900117</c:v>
                </c:pt>
                <c:pt idx="1712">
                  <c:v>142.08183069923371</c:v>
                </c:pt>
                <c:pt idx="1713">
                  <c:v>142.07161069455469</c:v>
                </c:pt>
                <c:pt idx="1714">
                  <c:v>142.05841186197767</c:v>
                </c:pt>
                <c:pt idx="1715">
                  <c:v>142.01271487479039</c:v>
                </c:pt>
                <c:pt idx="1716">
                  <c:v>141.98029929267034</c:v>
                </c:pt>
                <c:pt idx="1717">
                  <c:v>141.90159632113023</c:v>
                </c:pt>
                <c:pt idx="1718">
                  <c:v>141.90099916376619</c:v>
                </c:pt>
                <c:pt idx="1719">
                  <c:v>141.87680072238959</c:v>
                </c:pt>
                <c:pt idx="1720">
                  <c:v>141.85925078630214</c:v>
                </c:pt>
                <c:pt idx="1721">
                  <c:v>141.8343982272678</c:v>
                </c:pt>
                <c:pt idx="1722">
                  <c:v>141.73730753110704</c:v>
                </c:pt>
                <c:pt idx="1723">
                  <c:v>141.69593088804686</c:v>
                </c:pt>
                <c:pt idx="1724">
                  <c:v>141.68886904939905</c:v>
                </c:pt>
                <c:pt idx="1725">
                  <c:v>141.62507672488459</c:v>
                </c:pt>
                <c:pt idx="1726">
                  <c:v>141.53344339369835</c:v>
                </c:pt>
                <c:pt idx="1727">
                  <c:v>141.45296009984509</c:v>
                </c:pt>
                <c:pt idx="1728">
                  <c:v>141.43602244059252</c:v>
                </c:pt>
                <c:pt idx="1729">
                  <c:v>141.39923265245227</c:v>
                </c:pt>
                <c:pt idx="1730">
                  <c:v>141.38666885074258</c:v>
                </c:pt>
                <c:pt idx="1731">
                  <c:v>141.28293721106354</c:v>
                </c:pt>
                <c:pt idx="1732">
                  <c:v>141.2637600397062</c:v>
                </c:pt>
                <c:pt idx="1733">
                  <c:v>141.23450624257157</c:v>
                </c:pt>
                <c:pt idx="1734">
                  <c:v>141.19355248950785</c:v>
                </c:pt>
                <c:pt idx="1735">
                  <c:v>141.17922126353346</c:v>
                </c:pt>
                <c:pt idx="1736">
                  <c:v>141.1650536551299</c:v>
                </c:pt>
                <c:pt idx="1737">
                  <c:v>141.11692863343262</c:v>
                </c:pt>
                <c:pt idx="1738">
                  <c:v>141.07259012858071</c:v>
                </c:pt>
                <c:pt idx="1739">
                  <c:v>141.03056708441841</c:v>
                </c:pt>
                <c:pt idx="1740">
                  <c:v>141.01584706020822</c:v>
                </c:pt>
                <c:pt idx="1741">
                  <c:v>140.99537956839151</c:v>
                </c:pt>
                <c:pt idx="1742">
                  <c:v>140.98559275660023</c:v>
                </c:pt>
                <c:pt idx="1743">
                  <c:v>140.82676567821147</c:v>
                </c:pt>
                <c:pt idx="1744">
                  <c:v>140.81991229279299</c:v>
                </c:pt>
                <c:pt idx="1745">
                  <c:v>140.77408447265623</c:v>
                </c:pt>
                <c:pt idx="1746">
                  <c:v>140.70057974859458</c:v>
                </c:pt>
                <c:pt idx="1747">
                  <c:v>140.58432312011723</c:v>
                </c:pt>
                <c:pt idx="1748">
                  <c:v>140.53637042836613</c:v>
                </c:pt>
                <c:pt idx="1749">
                  <c:v>140.50967313547369</c:v>
                </c:pt>
                <c:pt idx="1750">
                  <c:v>140.47081688774961</c:v>
                </c:pt>
                <c:pt idx="1751">
                  <c:v>140.34130883127727</c:v>
                </c:pt>
                <c:pt idx="1752">
                  <c:v>140.24027676052515</c:v>
                </c:pt>
                <c:pt idx="1753">
                  <c:v>140.03308558847721</c:v>
                </c:pt>
                <c:pt idx="1754">
                  <c:v>140.02376770763055</c:v>
                </c:pt>
                <c:pt idx="1755">
                  <c:v>139.98350556429557</c:v>
                </c:pt>
                <c:pt idx="1756">
                  <c:v>139.95788256717867</c:v>
                </c:pt>
                <c:pt idx="1757">
                  <c:v>139.90856246948238</c:v>
                </c:pt>
                <c:pt idx="1758">
                  <c:v>139.90636299981009</c:v>
                </c:pt>
                <c:pt idx="1759">
                  <c:v>139.89415885731387</c:v>
                </c:pt>
                <c:pt idx="1760">
                  <c:v>139.74006151596041</c:v>
                </c:pt>
                <c:pt idx="1761">
                  <c:v>139.68152927301867</c:v>
                </c:pt>
                <c:pt idx="1762">
                  <c:v>139.66361033545604</c:v>
                </c:pt>
                <c:pt idx="1763">
                  <c:v>139.46244560060609</c:v>
                </c:pt>
                <c:pt idx="1764">
                  <c:v>139.44711407350849</c:v>
                </c:pt>
                <c:pt idx="1765">
                  <c:v>139.40756992669776</c:v>
                </c:pt>
                <c:pt idx="1766">
                  <c:v>139.39989437527129</c:v>
                </c:pt>
                <c:pt idx="1767">
                  <c:v>139.39349827665217</c:v>
                </c:pt>
                <c:pt idx="1768">
                  <c:v>139.33781331380203</c:v>
                </c:pt>
                <c:pt idx="1769">
                  <c:v>139.32120213341386</c:v>
                </c:pt>
                <c:pt idx="1770">
                  <c:v>139.27630533938418</c:v>
                </c:pt>
                <c:pt idx="1771">
                  <c:v>139.00085246354752</c:v>
                </c:pt>
                <c:pt idx="1772">
                  <c:v>138.99424046645936</c:v>
                </c:pt>
                <c:pt idx="1773">
                  <c:v>138.91585852969752</c:v>
                </c:pt>
                <c:pt idx="1774">
                  <c:v>138.90949565069593</c:v>
                </c:pt>
                <c:pt idx="1775">
                  <c:v>138.83094944648656</c:v>
                </c:pt>
                <c:pt idx="1776">
                  <c:v>138.77111417916194</c:v>
                </c:pt>
                <c:pt idx="1777">
                  <c:v>138.74518720838751</c:v>
                </c:pt>
                <c:pt idx="1778">
                  <c:v>138.71607327697961</c:v>
                </c:pt>
                <c:pt idx="1779">
                  <c:v>138.70161015404187</c:v>
                </c:pt>
                <c:pt idx="1780">
                  <c:v>138.68899603949649</c:v>
                </c:pt>
                <c:pt idx="1781">
                  <c:v>138.67609659830737</c:v>
                </c:pt>
                <c:pt idx="1782">
                  <c:v>138.62061933452469</c:v>
                </c:pt>
                <c:pt idx="1783">
                  <c:v>138.59201743675817</c:v>
                </c:pt>
                <c:pt idx="1784">
                  <c:v>138.5906399253563</c:v>
                </c:pt>
                <c:pt idx="1785">
                  <c:v>138.50211978792402</c:v>
                </c:pt>
                <c:pt idx="1786">
                  <c:v>138.44267889606067</c:v>
                </c:pt>
                <c:pt idx="1787">
                  <c:v>138.37635094351458</c:v>
                </c:pt>
                <c:pt idx="1788">
                  <c:v>138.22458695808598</c:v>
                </c:pt>
                <c:pt idx="1789">
                  <c:v>138.20414233737517</c:v>
                </c:pt>
                <c:pt idx="1790">
                  <c:v>138.20323437443483</c:v>
                </c:pt>
                <c:pt idx="1791">
                  <c:v>138.18796247050318</c:v>
                </c:pt>
                <c:pt idx="1792">
                  <c:v>138.15438217843212</c:v>
                </c:pt>
                <c:pt idx="1793">
                  <c:v>137.96537346841922</c:v>
                </c:pt>
                <c:pt idx="1794">
                  <c:v>137.90122406288424</c:v>
                </c:pt>
                <c:pt idx="1795">
                  <c:v>137.88634029942693</c:v>
                </c:pt>
                <c:pt idx="1796">
                  <c:v>137.75387048232983</c:v>
                </c:pt>
                <c:pt idx="1797">
                  <c:v>137.72881372405607</c:v>
                </c:pt>
                <c:pt idx="1798">
                  <c:v>137.68816231621645</c:v>
                </c:pt>
                <c:pt idx="1799">
                  <c:v>137.5809375348008</c:v>
                </c:pt>
                <c:pt idx="1800">
                  <c:v>137.54105572896981</c:v>
                </c:pt>
                <c:pt idx="1801">
                  <c:v>137.41693912082246</c:v>
                </c:pt>
                <c:pt idx="1802">
                  <c:v>137.38792308979441</c:v>
                </c:pt>
                <c:pt idx="1803">
                  <c:v>137.34017526680361</c:v>
                </c:pt>
                <c:pt idx="1804">
                  <c:v>137.26543788565766</c:v>
                </c:pt>
                <c:pt idx="1805">
                  <c:v>137.0639070298937</c:v>
                </c:pt>
                <c:pt idx="1806">
                  <c:v>136.93236550225151</c:v>
                </c:pt>
                <c:pt idx="1807">
                  <c:v>136.90954725477434</c:v>
                </c:pt>
                <c:pt idx="1808">
                  <c:v>136.83359054049424</c:v>
                </c:pt>
                <c:pt idx="1809">
                  <c:v>136.8155552286272</c:v>
                </c:pt>
                <c:pt idx="1810">
                  <c:v>136.73584442138667</c:v>
                </c:pt>
                <c:pt idx="1811">
                  <c:v>136.68354899088536</c:v>
                </c:pt>
                <c:pt idx="1812">
                  <c:v>136.67776307639383</c:v>
                </c:pt>
                <c:pt idx="1813">
                  <c:v>136.22919668548877</c:v>
                </c:pt>
                <c:pt idx="1814">
                  <c:v>136.20784406453686</c:v>
                </c:pt>
                <c:pt idx="1815">
                  <c:v>136.13931474596302</c:v>
                </c:pt>
                <c:pt idx="1816">
                  <c:v>136.13392858959389</c:v>
                </c:pt>
                <c:pt idx="1817">
                  <c:v>136.05608846288169</c:v>
                </c:pt>
                <c:pt idx="1818">
                  <c:v>136.03200295730653</c:v>
                </c:pt>
                <c:pt idx="1819">
                  <c:v>135.93706410725906</c:v>
                </c:pt>
                <c:pt idx="1820">
                  <c:v>135.92498779296875</c:v>
                </c:pt>
                <c:pt idx="1821">
                  <c:v>135.92319751315642</c:v>
                </c:pt>
                <c:pt idx="1822">
                  <c:v>135.82613163624819</c:v>
                </c:pt>
                <c:pt idx="1823">
                  <c:v>135.69668170455225</c:v>
                </c:pt>
                <c:pt idx="1824">
                  <c:v>135.6260181003147</c:v>
                </c:pt>
                <c:pt idx="1825">
                  <c:v>135.59142854271863</c:v>
                </c:pt>
                <c:pt idx="1826">
                  <c:v>135.56313004586377</c:v>
                </c:pt>
                <c:pt idx="1827">
                  <c:v>135.37095045336389</c:v>
                </c:pt>
                <c:pt idx="1828">
                  <c:v>135.30412419637048</c:v>
                </c:pt>
                <c:pt idx="1829">
                  <c:v>135.30267250517477</c:v>
                </c:pt>
                <c:pt idx="1830">
                  <c:v>135.16952009678926</c:v>
                </c:pt>
                <c:pt idx="1831">
                  <c:v>134.99108205796199</c:v>
                </c:pt>
                <c:pt idx="1832">
                  <c:v>134.97192188090867</c:v>
                </c:pt>
                <c:pt idx="1833">
                  <c:v>134.89162154985956</c:v>
                </c:pt>
                <c:pt idx="1834">
                  <c:v>134.85841464407645</c:v>
                </c:pt>
                <c:pt idx="1835">
                  <c:v>134.76882776300977</c:v>
                </c:pt>
                <c:pt idx="1836">
                  <c:v>134.56273464626736</c:v>
                </c:pt>
                <c:pt idx="1837">
                  <c:v>134.43562850952151</c:v>
                </c:pt>
                <c:pt idx="1838">
                  <c:v>134.36903822207819</c:v>
                </c:pt>
                <c:pt idx="1839">
                  <c:v>134.36501212035409</c:v>
                </c:pt>
                <c:pt idx="1840">
                  <c:v>134.34721312133024</c:v>
                </c:pt>
                <c:pt idx="1841">
                  <c:v>134.29270078870991</c:v>
                </c:pt>
                <c:pt idx="1842">
                  <c:v>134.10893179084621</c:v>
                </c:pt>
                <c:pt idx="1843">
                  <c:v>134.10405103895391</c:v>
                </c:pt>
                <c:pt idx="1844">
                  <c:v>134.083834257783</c:v>
                </c:pt>
                <c:pt idx="1845">
                  <c:v>134.07117160373264</c:v>
                </c:pt>
                <c:pt idx="1846">
                  <c:v>134.03937055799702</c:v>
                </c:pt>
                <c:pt idx="1847">
                  <c:v>133.98842621995823</c:v>
                </c:pt>
                <c:pt idx="1848">
                  <c:v>133.89674479166661</c:v>
                </c:pt>
                <c:pt idx="1849">
                  <c:v>133.88445714849377</c:v>
                </c:pt>
                <c:pt idx="1850">
                  <c:v>133.8112404011506</c:v>
                </c:pt>
                <c:pt idx="1851">
                  <c:v>133.48310536745021</c:v>
                </c:pt>
                <c:pt idx="1852">
                  <c:v>133.443431769477</c:v>
                </c:pt>
                <c:pt idx="1853">
                  <c:v>133.3913066901157</c:v>
                </c:pt>
                <c:pt idx="1854">
                  <c:v>133.2901895028574</c:v>
                </c:pt>
                <c:pt idx="1855">
                  <c:v>133.24187082178446</c:v>
                </c:pt>
                <c:pt idx="1856">
                  <c:v>133.23728198132494</c:v>
                </c:pt>
                <c:pt idx="1857">
                  <c:v>133.22670697514309</c:v>
                </c:pt>
                <c:pt idx="1858">
                  <c:v>133.14076266818574</c:v>
                </c:pt>
                <c:pt idx="1859">
                  <c:v>133.11585401192497</c:v>
                </c:pt>
                <c:pt idx="1860">
                  <c:v>133.09580544365781</c:v>
                </c:pt>
                <c:pt idx="1861">
                  <c:v>133.09319113808124</c:v>
                </c:pt>
                <c:pt idx="1862">
                  <c:v>133.07157815244773</c:v>
                </c:pt>
                <c:pt idx="1863">
                  <c:v>133.03331561540301</c:v>
                </c:pt>
                <c:pt idx="1864">
                  <c:v>132.9113012620486</c:v>
                </c:pt>
                <c:pt idx="1865">
                  <c:v>132.76992450290254</c:v>
                </c:pt>
                <c:pt idx="1866">
                  <c:v>132.71910409594568</c:v>
                </c:pt>
                <c:pt idx="1867">
                  <c:v>132.58855984295553</c:v>
                </c:pt>
                <c:pt idx="1868">
                  <c:v>132.53789462324278</c:v>
                </c:pt>
                <c:pt idx="1869">
                  <c:v>132.40609950840155</c:v>
                </c:pt>
                <c:pt idx="1870">
                  <c:v>132.39776642985362</c:v>
                </c:pt>
                <c:pt idx="1871">
                  <c:v>132.31819827938114</c:v>
                </c:pt>
                <c:pt idx="1872">
                  <c:v>132.29911176893449</c:v>
                </c:pt>
                <c:pt idx="1873">
                  <c:v>132.23022804295874</c:v>
                </c:pt>
                <c:pt idx="1874">
                  <c:v>132.20241782344442</c:v>
                </c:pt>
                <c:pt idx="1875">
                  <c:v>132.10271369086377</c:v>
                </c:pt>
                <c:pt idx="1876">
                  <c:v>132.0296574119285</c:v>
                </c:pt>
                <c:pt idx="1877">
                  <c:v>132.02371749877932</c:v>
                </c:pt>
                <c:pt idx="1878">
                  <c:v>131.97367130358009</c:v>
                </c:pt>
                <c:pt idx="1879">
                  <c:v>131.96888652058624</c:v>
                </c:pt>
                <c:pt idx="1880">
                  <c:v>131.94044681125217</c:v>
                </c:pt>
                <c:pt idx="1881">
                  <c:v>131.89235931622022</c:v>
                </c:pt>
                <c:pt idx="1882">
                  <c:v>131.8449730010509</c:v>
                </c:pt>
                <c:pt idx="1883">
                  <c:v>131.58500891791448</c:v>
                </c:pt>
                <c:pt idx="1884">
                  <c:v>131.56538043332739</c:v>
                </c:pt>
                <c:pt idx="1885">
                  <c:v>131.43927756415474</c:v>
                </c:pt>
                <c:pt idx="1886">
                  <c:v>131.4020333184136</c:v>
                </c:pt>
                <c:pt idx="1887">
                  <c:v>131.30648548950455</c:v>
                </c:pt>
                <c:pt idx="1888">
                  <c:v>131.2877169930473</c:v>
                </c:pt>
                <c:pt idx="1889">
                  <c:v>131.18187476264109</c:v>
                </c:pt>
                <c:pt idx="1890">
                  <c:v>130.99832440250088</c:v>
                </c:pt>
                <c:pt idx="1891">
                  <c:v>130.95499221322098</c:v>
                </c:pt>
                <c:pt idx="1892">
                  <c:v>130.77087505623138</c:v>
                </c:pt>
                <c:pt idx="1893">
                  <c:v>130.7265274047852</c:v>
                </c:pt>
                <c:pt idx="1894">
                  <c:v>130.68499315049917</c:v>
                </c:pt>
                <c:pt idx="1895">
                  <c:v>130.56331668429902</c:v>
                </c:pt>
                <c:pt idx="1896">
                  <c:v>130.54689261767885</c:v>
                </c:pt>
                <c:pt idx="1897">
                  <c:v>130.53530738023221</c:v>
                </c:pt>
                <c:pt idx="1898">
                  <c:v>130.5286813524034</c:v>
                </c:pt>
                <c:pt idx="1899">
                  <c:v>130.41101243760852</c:v>
                </c:pt>
                <c:pt idx="1900">
                  <c:v>130.30871777401455</c:v>
                </c:pt>
                <c:pt idx="1901">
                  <c:v>130.30083192195571</c:v>
                </c:pt>
                <c:pt idx="1902">
                  <c:v>130.2299382176526</c:v>
                </c:pt>
                <c:pt idx="1903">
                  <c:v>130.16208864207954</c:v>
                </c:pt>
                <c:pt idx="1904">
                  <c:v>130.13433422006381</c:v>
                </c:pt>
                <c:pt idx="1905">
                  <c:v>130.01575071546768</c:v>
                </c:pt>
                <c:pt idx="1906">
                  <c:v>129.93873908134913</c:v>
                </c:pt>
                <c:pt idx="1907">
                  <c:v>129.91356764544173</c:v>
                </c:pt>
                <c:pt idx="1908">
                  <c:v>129.88102032445238</c:v>
                </c:pt>
                <c:pt idx="1909">
                  <c:v>129.70238666900457</c:v>
                </c:pt>
                <c:pt idx="1910">
                  <c:v>129.63064948187935</c:v>
                </c:pt>
                <c:pt idx="1911">
                  <c:v>129.60505914645728</c:v>
                </c:pt>
                <c:pt idx="1912">
                  <c:v>129.5533008299933</c:v>
                </c:pt>
                <c:pt idx="1913">
                  <c:v>129.53667204115129</c:v>
                </c:pt>
                <c:pt idx="1914">
                  <c:v>129.44052311284133</c:v>
                </c:pt>
                <c:pt idx="1915">
                  <c:v>129.4210664777745</c:v>
                </c:pt>
                <c:pt idx="1916">
                  <c:v>129.3893472717931</c:v>
                </c:pt>
                <c:pt idx="1917">
                  <c:v>129.37449086507161</c:v>
                </c:pt>
                <c:pt idx="1918">
                  <c:v>129.15554729796304</c:v>
                </c:pt>
                <c:pt idx="1919">
                  <c:v>129.05559700206106</c:v>
                </c:pt>
                <c:pt idx="1920">
                  <c:v>128.87458910622217</c:v>
                </c:pt>
                <c:pt idx="1921">
                  <c:v>128.7002571953667</c:v>
                </c:pt>
                <c:pt idx="1922">
                  <c:v>128.67709468555336</c:v>
                </c:pt>
                <c:pt idx="1923">
                  <c:v>128.65547999767114</c:v>
                </c:pt>
                <c:pt idx="1924">
                  <c:v>128.63612336561425</c:v>
                </c:pt>
                <c:pt idx="1925">
                  <c:v>128.62774900369959</c:v>
                </c:pt>
                <c:pt idx="1926">
                  <c:v>128.51199631030931</c:v>
                </c:pt>
                <c:pt idx="1927">
                  <c:v>128.45297181871206</c:v>
                </c:pt>
                <c:pt idx="1928">
                  <c:v>128.30619551973393</c:v>
                </c:pt>
                <c:pt idx="1929">
                  <c:v>128.3052279437029</c:v>
                </c:pt>
                <c:pt idx="1930">
                  <c:v>128.19806476169163</c:v>
                </c:pt>
                <c:pt idx="1931">
                  <c:v>128.19472883781918</c:v>
                </c:pt>
                <c:pt idx="1932">
                  <c:v>128.11848696948061</c:v>
                </c:pt>
                <c:pt idx="1933">
                  <c:v>127.91305534656203</c:v>
                </c:pt>
                <c:pt idx="1934">
                  <c:v>127.89334638546677</c:v>
                </c:pt>
                <c:pt idx="1935">
                  <c:v>127.74653735690652</c:v>
                </c:pt>
                <c:pt idx="1936">
                  <c:v>127.71354264820525</c:v>
                </c:pt>
                <c:pt idx="1937">
                  <c:v>127.62673356797961</c:v>
                </c:pt>
                <c:pt idx="1938">
                  <c:v>127.54337091660614</c:v>
                </c:pt>
                <c:pt idx="1939">
                  <c:v>127.50556827121318</c:v>
                </c:pt>
                <c:pt idx="1940">
                  <c:v>127.25641810099285</c:v>
                </c:pt>
                <c:pt idx="1941">
                  <c:v>127.20567431979714</c:v>
                </c:pt>
                <c:pt idx="1942">
                  <c:v>127.14603053234839</c:v>
                </c:pt>
                <c:pt idx="1943">
                  <c:v>126.99506110443656</c:v>
                </c:pt>
                <c:pt idx="1944">
                  <c:v>126.89236785875323</c:v>
                </c:pt>
                <c:pt idx="1945">
                  <c:v>126.81044612355583</c:v>
                </c:pt>
                <c:pt idx="1946">
                  <c:v>126.76758405398698</c:v>
                </c:pt>
                <c:pt idx="1947">
                  <c:v>126.75712873199836</c:v>
                </c:pt>
                <c:pt idx="1948">
                  <c:v>126.74255750239547</c:v>
                </c:pt>
                <c:pt idx="1949">
                  <c:v>126.59381737216404</c:v>
                </c:pt>
                <c:pt idx="1950">
                  <c:v>126.43280858749006</c:v>
                </c:pt>
                <c:pt idx="1951">
                  <c:v>126.36610192288731</c:v>
                </c:pt>
                <c:pt idx="1952">
                  <c:v>126.2294152735634</c:v>
                </c:pt>
                <c:pt idx="1953">
                  <c:v>126.14957489617325</c:v>
                </c:pt>
                <c:pt idx="1954">
                  <c:v>126.08039324509673</c:v>
                </c:pt>
                <c:pt idx="1955">
                  <c:v>126.03446994357637</c:v>
                </c:pt>
                <c:pt idx="1956">
                  <c:v>126.0273837489591</c:v>
                </c:pt>
                <c:pt idx="1957">
                  <c:v>125.91526201036243</c:v>
                </c:pt>
                <c:pt idx="1958">
                  <c:v>125.88827971495664</c:v>
                </c:pt>
                <c:pt idx="1959">
                  <c:v>125.79730546739358</c:v>
                </c:pt>
                <c:pt idx="1960">
                  <c:v>125.74085498385955</c:v>
                </c:pt>
                <c:pt idx="1961">
                  <c:v>125.70483225070734</c:v>
                </c:pt>
                <c:pt idx="1962">
                  <c:v>125.61958041370826</c:v>
                </c:pt>
                <c:pt idx="1963">
                  <c:v>125.50416735256101</c:v>
                </c:pt>
                <c:pt idx="1964">
                  <c:v>125.41339777571113</c:v>
                </c:pt>
                <c:pt idx="1965">
                  <c:v>125.41022435064383</c:v>
                </c:pt>
                <c:pt idx="1966">
                  <c:v>125.40255842329225</c:v>
                </c:pt>
                <c:pt idx="1967">
                  <c:v>125.2238645765517</c:v>
                </c:pt>
                <c:pt idx="1968">
                  <c:v>125.20833443535696</c:v>
                </c:pt>
                <c:pt idx="1969">
                  <c:v>125.15709046576637</c:v>
                </c:pt>
                <c:pt idx="1970">
                  <c:v>125.01463857978194</c:v>
                </c:pt>
                <c:pt idx="1971">
                  <c:v>124.89175101907119</c:v>
                </c:pt>
                <c:pt idx="1972">
                  <c:v>124.85799486674966</c:v>
                </c:pt>
                <c:pt idx="1973">
                  <c:v>124.73255110346304</c:v>
                </c:pt>
                <c:pt idx="1974">
                  <c:v>124.73068323135374</c:v>
                </c:pt>
                <c:pt idx="1975">
                  <c:v>124.60473782139957</c:v>
                </c:pt>
                <c:pt idx="1976">
                  <c:v>124.41715282864038</c:v>
                </c:pt>
                <c:pt idx="1977">
                  <c:v>124.41627862402061</c:v>
                </c:pt>
                <c:pt idx="1978">
                  <c:v>124.39720809124128</c:v>
                </c:pt>
                <c:pt idx="1979">
                  <c:v>124.39678100088361</c:v>
                </c:pt>
                <c:pt idx="1980">
                  <c:v>124.33598883468869</c:v>
                </c:pt>
                <c:pt idx="1981">
                  <c:v>124.22380599975588</c:v>
                </c:pt>
                <c:pt idx="1982">
                  <c:v>124.17362605149572</c:v>
                </c:pt>
                <c:pt idx="1983">
                  <c:v>124.14166040214695</c:v>
                </c:pt>
                <c:pt idx="1984">
                  <c:v>123.94527926974831</c:v>
                </c:pt>
                <c:pt idx="1985">
                  <c:v>123.9347951188588</c:v>
                </c:pt>
                <c:pt idx="1986">
                  <c:v>123.84257151285806</c:v>
                </c:pt>
                <c:pt idx="1987">
                  <c:v>123.81325466338183</c:v>
                </c:pt>
                <c:pt idx="1988">
                  <c:v>123.70715294695924</c:v>
                </c:pt>
                <c:pt idx="1989">
                  <c:v>123.62715229422656</c:v>
                </c:pt>
                <c:pt idx="1990">
                  <c:v>123.61986745198567</c:v>
                </c:pt>
                <c:pt idx="1991">
                  <c:v>123.6137085808648</c:v>
                </c:pt>
                <c:pt idx="1992">
                  <c:v>123.41829158587586</c:v>
                </c:pt>
                <c:pt idx="1993">
                  <c:v>123.30535075011471</c:v>
                </c:pt>
                <c:pt idx="1994">
                  <c:v>123.19197845458984</c:v>
                </c:pt>
                <c:pt idx="1995">
                  <c:v>123.16669891629829</c:v>
                </c:pt>
                <c:pt idx="1996">
                  <c:v>123.16592044259255</c:v>
                </c:pt>
                <c:pt idx="1997">
                  <c:v>122.99409355213436</c:v>
                </c:pt>
                <c:pt idx="1998">
                  <c:v>122.9784018396474</c:v>
                </c:pt>
                <c:pt idx="1999">
                  <c:v>122.76865878634987</c:v>
                </c:pt>
                <c:pt idx="2000">
                  <c:v>122.75632847437225</c:v>
                </c:pt>
                <c:pt idx="2001">
                  <c:v>122.58836771647134</c:v>
                </c:pt>
                <c:pt idx="2002">
                  <c:v>122.57282867848551</c:v>
                </c:pt>
                <c:pt idx="2003">
                  <c:v>122.36887328748298</c:v>
                </c:pt>
                <c:pt idx="2004">
                  <c:v>122.32215704126224</c:v>
                </c:pt>
                <c:pt idx="2005">
                  <c:v>122.28735962282633</c:v>
                </c:pt>
                <c:pt idx="2006">
                  <c:v>122.17133231358218</c:v>
                </c:pt>
                <c:pt idx="2007">
                  <c:v>122.14635572860846</c:v>
                </c:pt>
                <c:pt idx="2008">
                  <c:v>121.9831731960835</c:v>
                </c:pt>
                <c:pt idx="2009">
                  <c:v>121.93787177799163</c:v>
                </c:pt>
                <c:pt idx="2010">
                  <c:v>121.92513868543836</c:v>
                </c:pt>
                <c:pt idx="2011">
                  <c:v>121.83165669432526</c:v>
                </c:pt>
                <c:pt idx="2012">
                  <c:v>121.79957478841141</c:v>
                </c:pt>
                <c:pt idx="2013">
                  <c:v>121.67007800518388</c:v>
                </c:pt>
                <c:pt idx="2014">
                  <c:v>121.63313393825945</c:v>
                </c:pt>
                <c:pt idx="2015">
                  <c:v>121.56527186843846</c:v>
                </c:pt>
                <c:pt idx="2016">
                  <c:v>121.54848968263661</c:v>
                </c:pt>
                <c:pt idx="2017">
                  <c:v>121.53933177205374</c:v>
                </c:pt>
                <c:pt idx="2018">
                  <c:v>121.52079267793067</c:v>
                </c:pt>
                <c:pt idx="2019">
                  <c:v>121.47787373860672</c:v>
                </c:pt>
                <c:pt idx="2020">
                  <c:v>121.32546268039277</c:v>
                </c:pt>
                <c:pt idx="2021">
                  <c:v>121.31733798850746</c:v>
                </c:pt>
                <c:pt idx="2022">
                  <c:v>121.28868149136235</c:v>
                </c:pt>
                <c:pt idx="2023">
                  <c:v>121.22507302235749</c:v>
                </c:pt>
                <c:pt idx="2024">
                  <c:v>121.22299440948063</c:v>
                </c:pt>
                <c:pt idx="2025">
                  <c:v>121.21736876523062</c:v>
                </c:pt>
                <c:pt idx="2026">
                  <c:v>121.19049350171997</c:v>
                </c:pt>
                <c:pt idx="2027">
                  <c:v>121.08515472412114</c:v>
                </c:pt>
                <c:pt idx="2028">
                  <c:v>121.0076014200846</c:v>
                </c:pt>
                <c:pt idx="2029">
                  <c:v>120.96285934448247</c:v>
                </c:pt>
                <c:pt idx="2030">
                  <c:v>120.96115468113999</c:v>
                </c:pt>
                <c:pt idx="2031">
                  <c:v>120.64870754289041</c:v>
                </c:pt>
                <c:pt idx="2032">
                  <c:v>120.57674466792628</c:v>
                </c:pt>
                <c:pt idx="2033">
                  <c:v>120.35766260865876</c:v>
                </c:pt>
                <c:pt idx="2034">
                  <c:v>120.28843790507801</c:v>
                </c:pt>
                <c:pt idx="2035">
                  <c:v>120.22969477235779</c:v>
                </c:pt>
                <c:pt idx="2036">
                  <c:v>120.12209945871859</c:v>
                </c:pt>
                <c:pt idx="2037">
                  <c:v>120.06953497329607</c:v>
                </c:pt>
                <c:pt idx="2038">
                  <c:v>120.00723859998914</c:v>
                </c:pt>
                <c:pt idx="2039">
                  <c:v>119.97400071885852</c:v>
                </c:pt>
                <c:pt idx="2040">
                  <c:v>119.87812746342138</c:v>
                </c:pt>
                <c:pt idx="2041">
                  <c:v>119.86654853482514</c:v>
                </c:pt>
                <c:pt idx="2042">
                  <c:v>119.7529278866283</c:v>
                </c:pt>
                <c:pt idx="2043">
                  <c:v>119.70955249965084</c:v>
                </c:pt>
                <c:pt idx="2044">
                  <c:v>119.40363149398422</c:v>
                </c:pt>
                <c:pt idx="2045">
                  <c:v>119.30588776823208</c:v>
                </c:pt>
                <c:pt idx="2046">
                  <c:v>119.15664228331889</c:v>
                </c:pt>
                <c:pt idx="2047">
                  <c:v>119.02437721535011</c:v>
                </c:pt>
                <c:pt idx="2048">
                  <c:v>119.01745556083461</c:v>
                </c:pt>
                <c:pt idx="2049">
                  <c:v>118.92867694430879</c:v>
                </c:pt>
                <c:pt idx="2050">
                  <c:v>118.90528606838654</c:v>
                </c:pt>
                <c:pt idx="2051">
                  <c:v>118.81627161633457</c:v>
                </c:pt>
                <c:pt idx="2052">
                  <c:v>118.79546061514009</c:v>
                </c:pt>
                <c:pt idx="2053">
                  <c:v>118.57582206854522</c:v>
                </c:pt>
                <c:pt idx="2054">
                  <c:v>118.55172757714104</c:v>
                </c:pt>
                <c:pt idx="2055">
                  <c:v>118.53993796889029</c:v>
                </c:pt>
                <c:pt idx="2056">
                  <c:v>118.34564995975381</c:v>
                </c:pt>
                <c:pt idx="2057">
                  <c:v>118.27699508667001</c:v>
                </c:pt>
                <c:pt idx="2058">
                  <c:v>118.21227965619096</c:v>
                </c:pt>
                <c:pt idx="2059">
                  <c:v>118.12804887559673</c:v>
                </c:pt>
                <c:pt idx="2060">
                  <c:v>118.10166667049623</c:v>
                </c:pt>
                <c:pt idx="2061">
                  <c:v>118.05421396746362</c:v>
                </c:pt>
                <c:pt idx="2062">
                  <c:v>118.0132375454948</c:v>
                </c:pt>
                <c:pt idx="2063">
                  <c:v>117.84450480143232</c:v>
                </c:pt>
                <c:pt idx="2064">
                  <c:v>117.81426957121471</c:v>
                </c:pt>
                <c:pt idx="2065">
                  <c:v>117.76993545442997</c:v>
                </c:pt>
                <c:pt idx="2066">
                  <c:v>117.76024754842126</c:v>
                </c:pt>
                <c:pt idx="2067">
                  <c:v>117.75635587042098</c:v>
                </c:pt>
                <c:pt idx="2068">
                  <c:v>117.60436096191404</c:v>
                </c:pt>
                <c:pt idx="2069">
                  <c:v>117.59424581624035</c:v>
                </c:pt>
                <c:pt idx="2070">
                  <c:v>117.56872798593099</c:v>
                </c:pt>
                <c:pt idx="2071">
                  <c:v>117.51147747854907</c:v>
                </c:pt>
                <c:pt idx="2072">
                  <c:v>117.4921398586697</c:v>
                </c:pt>
                <c:pt idx="2073">
                  <c:v>117.33530202088525</c:v>
                </c:pt>
                <c:pt idx="2074">
                  <c:v>117.31502499050566</c:v>
                </c:pt>
                <c:pt idx="2075">
                  <c:v>117.26492590231226</c:v>
                </c:pt>
                <c:pt idx="2076">
                  <c:v>117.123096418366</c:v>
                </c:pt>
                <c:pt idx="2077">
                  <c:v>117.09276919894751</c:v>
                </c:pt>
                <c:pt idx="2078">
                  <c:v>117.0514155658675</c:v>
                </c:pt>
                <c:pt idx="2079">
                  <c:v>117.00700573391384</c:v>
                </c:pt>
                <c:pt idx="2080">
                  <c:v>117.00406840569713</c:v>
                </c:pt>
                <c:pt idx="2081">
                  <c:v>116.98370488484704</c:v>
                </c:pt>
                <c:pt idx="2082">
                  <c:v>116.70024950101015</c:v>
                </c:pt>
                <c:pt idx="2083">
                  <c:v>116.61993636823763</c:v>
                </c:pt>
                <c:pt idx="2084">
                  <c:v>116.46507997313449</c:v>
                </c:pt>
                <c:pt idx="2085">
                  <c:v>116.44977111816411</c:v>
                </c:pt>
                <c:pt idx="2086">
                  <c:v>116.3697053697374</c:v>
                </c:pt>
                <c:pt idx="2087">
                  <c:v>116.36088553534614</c:v>
                </c:pt>
                <c:pt idx="2088">
                  <c:v>116.33524307022526</c:v>
                </c:pt>
                <c:pt idx="2089">
                  <c:v>116.32252926296655</c:v>
                </c:pt>
                <c:pt idx="2090">
                  <c:v>116.28689896509513</c:v>
                </c:pt>
                <c:pt idx="2091">
                  <c:v>116.21445514066716</c:v>
                </c:pt>
                <c:pt idx="2092">
                  <c:v>116.10791460734447</c:v>
                </c:pt>
                <c:pt idx="2093">
                  <c:v>116.07341935899524</c:v>
                </c:pt>
                <c:pt idx="2094">
                  <c:v>116.07264129437522</c:v>
                </c:pt>
                <c:pt idx="2095">
                  <c:v>116.01453823513452</c:v>
                </c:pt>
                <c:pt idx="2096">
                  <c:v>115.92494437076664</c:v>
                </c:pt>
                <c:pt idx="2097">
                  <c:v>115.91303401710161</c:v>
                </c:pt>
                <c:pt idx="2098">
                  <c:v>115.76000434973571</c:v>
                </c:pt>
                <c:pt idx="2099">
                  <c:v>115.713367653869</c:v>
                </c:pt>
                <c:pt idx="2100">
                  <c:v>115.56903650957474</c:v>
                </c:pt>
                <c:pt idx="2101">
                  <c:v>115.39015717493123</c:v>
                </c:pt>
                <c:pt idx="2102">
                  <c:v>115.36343655056419</c:v>
                </c:pt>
                <c:pt idx="2103">
                  <c:v>115.28317550459781</c:v>
                </c:pt>
                <c:pt idx="2104">
                  <c:v>115.26199229481847</c:v>
                </c:pt>
                <c:pt idx="2105">
                  <c:v>115.18519222764542</c:v>
                </c:pt>
                <c:pt idx="2106">
                  <c:v>115.04795180208907</c:v>
                </c:pt>
                <c:pt idx="2107">
                  <c:v>115.02795822640269</c:v>
                </c:pt>
                <c:pt idx="2108">
                  <c:v>115.0038940429688</c:v>
                </c:pt>
                <c:pt idx="2109">
                  <c:v>114.86400823894496</c:v>
                </c:pt>
                <c:pt idx="2110">
                  <c:v>114.85472765920758</c:v>
                </c:pt>
                <c:pt idx="2111">
                  <c:v>114.73437473155843</c:v>
                </c:pt>
                <c:pt idx="2112">
                  <c:v>114.72003215070117</c:v>
                </c:pt>
                <c:pt idx="2113">
                  <c:v>114.69416256608633</c:v>
                </c:pt>
                <c:pt idx="2114">
                  <c:v>114.65730166965056</c:v>
                </c:pt>
                <c:pt idx="2115">
                  <c:v>114.5969234354933</c:v>
                </c:pt>
                <c:pt idx="2116">
                  <c:v>114.57265469461379</c:v>
                </c:pt>
                <c:pt idx="2117">
                  <c:v>114.54872666364952</c:v>
                </c:pt>
                <c:pt idx="2118">
                  <c:v>114.41217422485352</c:v>
                </c:pt>
                <c:pt idx="2119">
                  <c:v>114.39728060798802</c:v>
                </c:pt>
                <c:pt idx="2120">
                  <c:v>114.34313870684605</c:v>
                </c:pt>
                <c:pt idx="2121">
                  <c:v>114.22030795886963</c:v>
                </c:pt>
                <c:pt idx="2122">
                  <c:v>114.189348756257</c:v>
                </c:pt>
                <c:pt idx="2123">
                  <c:v>114.0784912109375</c:v>
                </c:pt>
                <c:pt idx="2124">
                  <c:v>114.02817789713549</c:v>
                </c:pt>
                <c:pt idx="2125">
                  <c:v>114.02265711474854</c:v>
                </c:pt>
                <c:pt idx="2126">
                  <c:v>113.99554582359212</c:v>
                </c:pt>
                <c:pt idx="2127">
                  <c:v>113.96578564114043</c:v>
                </c:pt>
                <c:pt idx="2128">
                  <c:v>113.83003306804119</c:v>
                </c:pt>
                <c:pt idx="2129">
                  <c:v>113.81063238476952</c:v>
                </c:pt>
                <c:pt idx="2130">
                  <c:v>113.77682284203127</c:v>
                </c:pt>
                <c:pt idx="2131">
                  <c:v>113.62609066818698</c:v>
                </c:pt>
                <c:pt idx="2132">
                  <c:v>113.51645645141605</c:v>
                </c:pt>
                <c:pt idx="2133">
                  <c:v>113.47477484809031</c:v>
                </c:pt>
                <c:pt idx="2134">
                  <c:v>113.38885561739914</c:v>
                </c:pt>
                <c:pt idx="2135">
                  <c:v>113.38230978700722</c:v>
                </c:pt>
                <c:pt idx="2136">
                  <c:v>113.30581926916045</c:v>
                </c:pt>
                <c:pt idx="2137">
                  <c:v>113.28627884863033</c:v>
                </c:pt>
                <c:pt idx="2138">
                  <c:v>113.21319601270886</c:v>
                </c:pt>
                <c:pt idx="2139">
                  <c:v>113.01192415025503</c:v>
                </c:pt>
                <c:pt idx="2140">
                  <c:v>112.99325968668415</c:v>
                </c:pt>
                <c:pt idx="2141">
                  <c:v>112.85883950119057</c:v>
                </c:pt>
                <c:pt idx="2142">
                  <c:v>112.71810395445652</c:v>
                </c:pt>
                <c:pt idx="2143">
                  <c:v>112.64871970038712</c:v>
                </c:pt>
                <c:pt idx="2144">
                  <c:v>112.40533532036682</c:v>
                </c:pt>
                <c:pt idx="2145">
                  <c:v>112.3851969095582</c:v>
                </c:pt>
                <c:pt idx="2146">
                  <c:v>112.3610241360135</c:v>
                </c:pt>
                <c:pt idx="2147">
                  <c:v>112.35033060324315</c:v>
                </c:pt>
                <c:pt idx="2148">
                  <c:v>112.33635693029362</c:v>
                </c:pt>
                <c:pt idx="2149">
                  <c:v>112.29478724946443</c:v>
                </c:pt>
                <c:pt idx="2150">
                  <c:v>112.22545255417026</c:v>
                </c:pt>
                <c:pt idx="2151">
                  <c:v>112.20443393496225</c:v>
                </c:pt>
                <c:pt idx="2152">
                  <c:v>112.18880740110387</c:v>
                </c:pt>
                <c:pt idx="2153">
                  <c:v>112.09498777429292</c:v>
                </c:pt>
                <c:pt idx="2154">
                  <c:v>111.89735535293869</c:v>
                </c:pt>
                <c:pt idx="2155">
                  <c:v>111.759656100803</c:v>
                </c:pt>
                <c:pt idx="2156">
                  <c:v>111.75503463745122</c:v>
                </c:pt>
                <c:pt idx="2157">
                  <c:v>111.70651255804921</c:v>
                </c:pt>
                <c:pt idx="2158">
                  <c:v>111.62314125588466</c:v>
                </c:pt>
                <c:pt idx="2159">
                  <c:v>111.56391108232344</c:v>
                </c:pt>
                <c:pt idx="2160">
                  <c:v>111.35945239903867</c:v>
                </c:pt>
                <c:pt idx="2161">
                  <c:v>111.25323311617058</c:v>
                </c:pt>
                <c:pt idx="2162">
                  <c:v>111.19526767658533</c:v>
                </c:pt>
                <c:pt idx="2163">
                  <c:v>111.17007151952851</c:v>
                </c:pt>
                <c:pt idx="2164">
                  <c:v>111.07953032811486</c:v>
                </c:pt>
                <c:pt idx="2165">
                  <c:v>111.04296620744913</c:v>
                </c:pt>
                <c:pt idx="2166">
                  <c:v>111.02867018743586</c:v>
                </c:pt>
                <c:pt idx="2167">
                  <c:v>110.96997248331706</c:v>
                </c:pt>
                <c:pt idx="2168">
                  <c:v>110.83572108062583</c:v>
                </c:pt>
                <c:pt idx="2169">
                  <c:v>110.78807936309738</c:v>
                </c:pt>
                <c:pt idx="2170">
                  <c:v>110.73062970852845</c:v>
                </c:pt>
                <c:pt idx="2171">
                  <c:v>110.70642662721309</c:v>
                </c:pt>
                <c:pt idx="2172">
                  <c:v>110.67383945677011</c:v>
                </c:pt>
                <c:pt idx="2173">
                  <c:v>110.6031494140625</c:v>
                </c:pt>
                <c:pt idx="2174">
                  <c:v>110.34932377390908</c:v>
                </c:pt>
                <c:pt idx="2175">
                  <c:v>110.32506276347351</c:v>
                </c:pt>
                <c:pt idx="2176">
                  <c:v>110.30003823174366</c:v>
                </c:pt>
                <c:pt idx="2177">
                  <c:v>110.21608208550344</c:v>
                </c:pt>
                <c:pt idx="2178">
                  <c:v>110.1705775454127</c:v>
                </c:pt>
                <c:pt idx="2179">
                  <c:v>110.14256252712676</c:v>
                </c:pt>
                <c:pt idx="2180">
                  <c:v>110.00975841572415</c:v>
                </c:pt>
                <c:pt idx="2181">
                  <c:v>110.00402109122558</c:v>
                </c:pt>
                <c:pt idx="2182">
                  <c:v>109.91354506085486</c:v>
                </c:pt>
                <c:pt idx="2183">
                  <c:v>109.88741637782994</c:v>
                </c:pt>
                <c:pt idx="2184">
                  <c:v>109.87346437541487</c:v>
                </c:pt>
                <c:pt idx="2185">
                  <c:v>109.80108500126232</c:v>
                </c:pt>
                <c:pt idx="2186">
                  <c:v>109.74431432088215</c:v>
                </c:pt>
                <c:pt idx="2187">
                  <c:v>109.69935628402334</c:v>
                </c:pt>
                <c:pt idx="2188">
                  <c:v>109.53470219286316</c:v>
                </c:pt>
                <c:pt idx="2189">
                  <c:v>109.51938277497709</c:v>
                </c:pt>
                <c:pt idx="2190">
                  <c:v>109.45216878255212</c:v>
                </c:pt>
                <c:pt idx="2191">
                  <c:v>109.41345626668169</c:v>
                </c:pt>
                <c:pt idx="2192">
                  <c:v>109.3910561583416</c:v>
                </c:pt>
                <c:pt idx="2193">
                  <c:v>109.37981072885009</c:v>
                </c:pt>
                <c:pt idx="2194">
                  <c:v>109.35924784342444</c:v>
                </c:pt>
                <c:pt idx="2195">
                  <c:v>109.33586898120848</c:v>
                </c:pt>
                <c:pt idx="2196">
                  <c:v>109.13149676852754</c:v>
                </c:pt>
                <c:pt idx="2197">
                  <c:v>109.11963705062863</c:v>
                </c:pt>
                <c:pt idx="2198">
                  <c:v>109.1048417073099</c:v>
                </c:pt>
                <c:pt idx="2199">
                  <c:v>109.06127445281493</c:v>
                </c:pt>
                <c:pt idx="2200">
                  <c:v>108.93173421223958</c:v>
                </c:pt>
                <c:pt idx="2201">
                  <c:v>108.92419297960066</c:v>
                </c:pt>
                <c:pt idx="2202">
                  <c:v>108.91599251894604</c:v>
                </c:pt>
                <c:pt idx="2203">
                  <c:v>108.83908261910176</c:v>
                </c:pt>
                <c:pt idx="2204">
                  <c:v>108.79184252637492</c:v>
                </c:pt>
                <c:pt idx="2205">
                  <c:v>108.71084661601503</c:v>
                </c:pt>
                <c:pt idx="2206">
                  <c:v>108.61559897528753</c:v>
                </c:pt>
                <c:pt idx="2207">
                  <c:v>108.55587163360372</c:v>
                </c:pt>
                <c:pt idx="2208">
                  <c:v>108.55213456860292</c:v>
                </c:pt>
                <c:pt idx="2209">
                  <c:v>108.52154642740891</c:v>
                </c:pt>
                <c:pt idx="2210">
                  <c:v>108.36153068955707</c:v>
                </c:pt>
                <c:pt idx="2211">
                  <c:v>108.35824128014622</c:v>
                </c:pt>
                <c:pt idx="2212">
                  <c:v>108.27774455045608</c:v>
                </c:pt>
                <c:pt idx="2213">
                  <c:v>108.14518907335071</c:v>
                </c:pt>
                <c:pt idx="2214">
                  <c:v>108.05957658555769</c:v>
                </c:pt>
                <c:pt idx="2215">
                  <c:v>108.01322932611788</c:v>
                </c:pt>
                <c:pt idx="2216">
                  <c:v>107.99329040555835</c:v>
                </c:pt>
                <c:pt idx="2217">
                  <c:v>107.96390275194051</c:v>
                </c:pt>
                <c:pt idx="2218">
                  <c:v>107.88028864212981</c:v>
                </c:pt>
                <c:pt idx="2219">
                  <c:v>107.87914141760928</c:v>
                </c:pt>
                <c:pt idx="2220">
                  <c:v>107.87288508365032</c:v>
                </c:pt>
                <c:pt idx="2221">
                  <c:v>107.80630286534631</c:v>
                </c:pt>
                <c:pt idx="2222">
                  <c:v>107.74135007580924</c:v>
                </c:pt>
                <c:pt idx="2223">
                  <c:v>107.68696278365769</c:v>
                </c:pt>
                <c:pt idx="2224">
                  <c:v>107.68465061250345</c:v>
                </c:pt>
                <c:pt idx="2225">
                  <c:v>107.66852609385614</c:v>
                </c:pt>
                <c:pt idx="2226">
                  <c:v>107.57071535659315</c:v>
                </c:pt>
                <c:pt idx="2227">
                  <c:v>107.56175927612856</c:v>
                </c:pt>
                <c:pt idx="2228">
                  <c:v>107.46589092678494</c:v>
                </c:pt>
                <c:pt idx="2229">
                  <c:v>107.41444835155403</c:v>
                </c:pt>
                <c:pt idx="2230">
                  <c:v>107.34179452896115</c:v>
                </c:pt>
                <c:pt idx="2231">
                  <c:v>107.22451819219918</c:v>
                </c:pt>
                <c:pt idx="2232">
                  <c:v>107.22348685941984</c:v>
                </c:pt>
                <c:pt idx="2233">
                  <c:v>107.20408418443469</c:v>
                </c:pt>
                <c:pt idx="2234">
                  <c:v>107.19474283854163</c:v>
                </c:pt>
                <c:pt idx="2235">
                  <c:v>107.17553532918294</c:v>
                </c:pt>
                <c:pt idx="2236">
                  <c:v>107.07187661064995</c:v>
                </c:pt>
                <c:pt idx="2237">
                  <c:v>107.02838745923816</c:v>
                </c:pt>
                <c:pt idx="2238">
                  <c:v>107.025634765625</c:v>
                </c:pt>
                <c:pt idx="2239">
                  <c:v>107.01389270358618</c:v>
                </c:pt>
                <c:pt idx="2240">
                  <c:v>106.98413930586821</c:v>
                </c:pt>
                <c:pt idx="2241">
                  <c:v>106.9315185546875</c:v>
                </c:pt>
                <c:pt idx="2242">
                  <c:v>106.89788818359375</c:v>
                </c:pt>
                <c:pt idx="2243">
                  <c:v>106.88800581273892</c:v>
                </c:pt>
                <c:pt idx="2244">
                  <c:v>106.7678787770036</c:v>
                </c:pt>
                <c:pt idx="2245">
                  <c:v>106.74485998774048</c:v>
                </c:pt>
                <c:pt idx="2246">
                  <c:v>106.72984223162825</c:v>
                </c:pt>
                <c:pt idx="2247">
                  <c:v>106.46885766299715</c:v>
                </c:pt>
                <c:pt idx="2248">
                  <c:v>106.38632254315246</c:v>
                </c:pt>
                <c:pt idx="2249">
                  <c:v>106.19997398372948</c:v>
                </c:pt>
                <c:pt idx="2250">
                  <c:v>106.15280956692163</c:v>
                </c:pt>
                <c:pt idx="2251">
                  <c:v>106.13123771284268</c:v>
                </c:pt>
                <c:pt idx="2252">
                  <c:v>106.07876149997151</c:v>
                </c:pt>
                <c:pt idx="2253">
                  <c:v>106.02627436272758</c:v>
                </c:pt>
                <c:pt idx="2254">
                  <c:v>106.00181222161746</c:v>
                </c:pt>
                <c:pt idx="2255">
                  <c:v>105.96728618267298</c:v>
                </c:pt>
                <c:pt idx="2256">
                  <c:v>105.9660651302338</c:v>
                </c:pt>
                <c:pt idx="2257">
                  <c:v>105.93282601769806</c:v>
                </c:pt>
                <c:pt idx="2258">
                  <c:v>105.88761580461096</c:v>
                </c:pt>
                <c:pt idx="2259">
                  <c:v>105.87468676201797</c:v>
                </c:pt>
                <c:pt idx="2260">
                  <c:v>105.68077501243044</c:v>
                </c:pt>
                <c:pt idx="2261">
                  <c:v>105.65970696343311</c:v>
                </c:pt>
                <c:pt idx="2262">
                  <c:v>105.63899293770021</c:v>
                </c:pt>
                <c:pt idx="2263">
                  <c:v>105.52497943493677</c:v>
                </c:pt>
                <c:pt idx="2264">
                  <c:v>105.45295817057297</c:v>
                </c:pt>
                <c:pt idx="2265">
                  <c:v>105.42432115342876</c:v>
                </c:pt>
                <c:pt idx="2266">
                  <c:v>105.42128927576755</c:v>
                </c:pt>
                <c:pt idx="2267">
                  <c:v>105.40167391625187</c:v>
                </c:pt>
                <c:pt idx="2268">
                  <c:v>105.39158933940678</c:v>
                </c:pt>
                <c:pt idx="2269">
                  <c:v>105.35951832511421</c:v>
                </c:pt>
                <c:pt idx="2270">
                  <c:v>105.27137378633051</c:v>
                </c:pt>
                <c:pt idx="2271">
                  <c:v>105.18412717909541</c:v>
                </c:pt>
                <c:pt idx="2272">
                  <c:v>105.14067873643899</c:v>
                </c:pt>
                <c:pt idx="2273">
                  <c:v>105.03402384197909</c:v>
                </c:pt>
                <c:pt idx="2274">
                  <c:v>105.02850341796875</c:v>
                </c:pt>
                <c:pt idx="2275">
                  <c:v>105.01654879357204</c:v>
                </c:pt>
                <c:pt idx="2276">
                  <c:v>104.99903463646433</c:v>
                </c:pt>
                <c:pt idx="2277">
                  <c:v>104.95792790095015</c:v>
                </c:pt>
                <c:pt idx="2278">
                  <c:v>104.94216206868487</c:v>
                </c:pt>
                <c:pt idx="2279">
                  <c:v>104.9404898749458</c:v>
                </c:pt>
                <c:pt idx="2280">
                  <c:v>104.93604309929742</c:v>
                </c:pt>
                <c:pt idx="2281">
                  <c:v>104.92117519614339</c:v>
                </c:pt>
                <c:pt idx="2282">
                  <c:v>104.68481980111869</c:v>
                </c:pt>
                <c:pt idx="2283">
                  <c:v>104.60613032862955</c:v>
                </c:pt>
                <c:pt idx="2284">
                  <c:v>104.58344633682918</c:v>
                </c:pt>
                <c:pt idx="2285">
                  <c:v>104.57866419949096</c:v>
                </c:pt>
                <c:pt idx="2286">
                  <c:v>104.53465852253112</c:v>
                </c:pt>
                <c:pt idx="2287">
                  <c:v>104.52650642413425</c:v>
                </c:pt>
                <c:pt idx="2288">
                  <c:v>104.43811648090889</c:v>
                </c:pt>
                <c:pt idx="2289">
                  <c:v>104.42428232828775</c:v>
                </c:pt>
                <c:pt idx="2290">
                  <c:v>104.40910960197448</c:v>
                </c:pt>
                <c:pt idx="2291">
                  <c:v>104.3681640625</c:v>
                </c:pt>
                <c:pt idx="2292">
                  <c:v>104.30645854311535</c:v>
                </c:pt>
                <c:pt idx="2293">
                  <c:v>104.06200135706536</c:v>
                </c:pt>
                <c:pt idx="2294">
                  <c:v>103.93786131458057</c:v>
                </c:pt>
                <c:pt idx="2295">
                  <c:v>103.93088312894849</c:v>
                </c:pt>
                <c:pt idx="2296">
                  <c:v>103.84067910688907</c:v>
                </c:pt>
                <c:pt idx="2297">
                  <c:v>103.80779209930199</c:v>
                </c:pt>
                <c:pt idx="2298">
                  <c:v>103.7871795810878</c:v>
                </c:pt>
                <c:pt idx="2299">
                  <c:v>103.77654461479563</c:v>
                </c:pt>
                <c:pt idx="2300">
                  <c:v>103.75228055078014</c:v>
                </c:pt>
                <c:pt idx="2301">
                  <c:v>103.72532200067963</c:v>
                </c:pt>
                <c:pt idx="2302">
                  <c:v>103.67775214937001</c:v>
                </c:pt>
                <c:pt idx="2303">
                  <c:v>103.620937324127</c:v>
                </c:pt>
                <c:pt idx="2304">
                  <c:v>103.60965006756749</c:v>
                </c:pt>
                <c:pt idx="2305">
                  <c:v>103.54522503923886</c:v>
                </c:pt>
                <c:pt idx="2306">
                  <c:v>103.54182142151728</c:v>
                </c:pt>
                <c:pt idx="2307">
                  <c:v>103.51852328664847</c:v>
                </c:pt>
                <c:pt idx="2308">
                  <c:v>103.4945419784018</c:v>
                </c:pt>
                <c:pt idx="2309">
                  <c:v>103.47527406480572</c:v>
                </c:pt>
                <c:pt idx="2310">
                  <c:v>103.42094583817857</c:v>
                </c:pt>
                <c:pt idx="2311">
                  <c:v>103.34260412070444</c:v>
                </c:pt>
                <c:pt idx="2312">
                  <c:v>103.30710885556095</c:v>
                </c:pt>
                <c:pt idx="2313">
                  <c:v>103.29155858357751</c:v>
                </c:pt>
                <c:pt idx="2314">
                  <c:v>103.18341776529951</c:v>
                </c:pt>
                <c:pt idx="2315">
                  <c:v>103.15456715336563</c:v>
                </c:pt>
                <c:pt idx="2316">
                  <c:v>103.15087248936265</c:v>
                </c:pt>
                <c:pt idx="2317">
                  <c:v>103.12168884277344</c:v>
                </c:pt>
                <c:pt idx="2318">
                  <c:v>102.9972532482642</c:v>
                </c:pt>
                <c:pt idx="2319">
                  <c:v>102.83749779595269</c:v>
                </c:pt>
                <c:pt idx="2320">
                  <c:v>102.8175029732331</c:v>
                </c:pt>
                <c:pt idx="2321">
                  <c:v>102.71963885951629</c:v>
                </c:pt>
                <c:pt idx="2322">
                  <c:v>102.71113679673931</c:v>
                </c:pt>
                <c:pt idx="2323">
                  <c:v>102.70233435211821</c:v>
                </c:pt>
                <c:pt idx="2324">
                  <c:v>102.69358134475658</c:v>
                </c:pt>
                <c:pt idx="2325">
                  <c:v>102.63357327529809</c:v>
                </c:pt>
                <c:pt idx="2326">
                  <c:v>102.5986132562897</c:v>
                </c:pt>
                <c:pt idx="2327">
                  <c:v>102.50695826212564</c:v>
                </c:pt>
                <c:pt idx="2328">
                  <c:v>102.4449215359158</c:v>
                </c:pt>
                <c:pt idx="2329">
                  <c:v>102.39922032709569</c:v>
                </c:pt>
                <c:pt idx="2330">
                  <c:v>102.35158929870909</c:v>
                </c:pt>
                <c:pt idx="2331">
                  <c:v>102.33294039125803</c:v>
                </c:pt>
                <c:pt idx="2332">
                  <c:v>102.33265392162173</c:v>
                </c:pt>
                <c:pt idx="2333">
                  <c:v>102.28077903127064</c:v>
                </c:pt>
                <c:pt idx="2334">
                  <c:v>102.27817462098369</c:v>
                </c:pt>
                <c:pt idx="2335">
                  <c:v>102.19245723017946</c:v>
                </c:pt>
                <c:pt idx="2336">
                  <c:v>102.17750608656149</c:v>
                </c:pt>
                <c:pt idx="2337">
                  <c:v>102.15443527903346</c:v>
                </c:pt>
                <c:pt idx="2338">
                  <c:v>102.12903209998035</c:v>
                </c:pt>
                <c:pt idx="2339">
                  <c:v>102.06870172068909</c:v>
                </c:pt>
                <c:pt idx="2340">
                  <c:v>101.97808968630159</c:v>
                </c:pt>
                <c:pt idx="2341">
                  <c:v>101.95559858098807</c:v>
                </c:pt>
                <c:pt idx="2342">
                  <c:v>101.9170916626307</c:v>
                </c:pt>
                <c:pt idx="2343">
                  <c:v>101.87178853963826</c:v>
                </c:pt>
                <c:pt idx="2344">
                  <c:v>101.83800297531184</c:v>
                </c:pt>
                <c:pt idx="2345">
                  <c:v>101.81046417518894</c:v>
                </c:pt>
                <c:pt idx="2346">
                  <c:v>101.80628724486746</c:v>
                </c:pt>
                <c:pt idx="2347">
                  <c:v>101.78302446895702</c:v>
                </c:pt>
                <c:pt idx="2348">
                  <c:v>101.76961845951791</c:v>
                </c:pt>
                <c:pt idx="2349">
                  <c:v>101.7424979315864</c:v>
                </c:pt>
                <c:pt idx="2350">
                  <c:v>101.71571216267716</c:v>
                </c:pt>
                <c:pt idx="2351">
                  <c:v>101.70004742940262</c:v>
                </c:pt>
                <c:pt idx="2352">
                  <c:v>101.69945419494604</c:v>
                </c:pt>
                <c:pt idx="2353">
                  <c:v>101.5849951002333</c:v>
                </c:pt>
                <c:pt idx="2354">
                  <c:v>101.58340433281455</c:v>
                </c:pt>
                <c:pt idx="2355">
                  <c:v>101.56926999626864</c:v>
                </c:pt>
                <c:pt idx="2356">
                  <c:v>101.5060502878124</c:v>
                </c:pt>
                <c:pt idx="2357">
                  <c:v>101.48439611223012</c:v>
                </c:pt>
                <c:pt idx="2358">
                  <c:v>101.3815019540433</c:v>
                </c:pt>
                <c:pt idx="2359">
                  <c:v>101.37821509821913</c:v>
                </c:pt>
                <c:pt idx="2360">
                  <c:v>101.33795166015625</c:v>
                </c:pt>
                <c:pt idx="2361">
                  <c:v>101.33358176618026</c:v>
                </c:pt>
                <c:pt idx="2362">
                  <c:v>101.14252782221183</c:v>
                </c:pt>
                <c:pt idx="2363">
                  <c:v>101.11971176548059</c:v>
                </c:pt>
                <c:pt idx="2364">
                  <c:v>101.11955458545685</c:v>
                </c:pt>
                <c:pt idx="2365">
                  <c:v>101.09555973338524</c:v>
                </c:pt>
                <c:pt idx="2366">
                  <c:v>101.04427807321952</c:v>
                </c:pt>
                <c:pt idx="2367">
                  <c:v>101.03320939451078</c:v>
                </c:pt>
                <c:pt idx="2368">
                  <c:v>100.908681233724</c:v>
                </c:pt>
                <c:pt idx="2369">
                  <c:v>100.87980644085326</c:v>
                </c:pt>
                <c:pt idx="2370">
                  <c:v>100.75503166043791</c:v>
                </c:pt>
                <c:pt idx="2371">
                  <c:v>100.75411211143808</c:v>
                </c:pt>
                <c:pt idx="2372">
                  <c:v>100.72213224199083</c:v>
                </c:pt>
                <c:pt idx="2373">
                  <c:v>100.70698549694487</c:v>
                </c:pt>
                <c:pt idx="2374">
                  <c:v>100.68333587646487</c:v>
                </c:pt>
                <c:pt idx="2375">
                  <c:v>100.67690350883674</c:v>
                </c:pt>
                <c:pt idx="2376">
                  <c:v>100.62245384727782</c:v>
                </c:pt>
                <c:pt idx="2377">
                  <c:v>100.55403798421219</c:v>
                </c:pt>
                <c:pt idx="2378">
                  <c:v>100.425048828125</c:v>
                </c:pt>
                <c:pt idx="2379">
                  <c:v>100.39259643554692</c:v>
                </c:pt>
                <c:pt idx="2380">
                  <c:v>100.37399396543162</c:v>
                </c:pt>
                <c:pt idx="2381">
                  <c:v>100.2895290565117</c:v>
                </c:pt>
                <c:pt idx="2382">
                  <c:v>100.17441951287708</c:v>
                </c:pt>
                <c:pt idx="2383">
                  <c:v>100.16588393133043</c:v>
                </c:pt>
                <c:pt idx="2384">
                  <c:v>100.15575536505071</c:v>
                </c:pt>
                <c:pt idx="2385">
                  <c:v>100.03942541193874</c:v>
                </c:pt>
                <c:pt idx="2386">
                  <c:v>99.955611265452262</c:v>
                </c:pt>
                <c:pt idx="2387">
                  <c:v>99.945541818936704</c:v>
                </c:pt>
                <c:pt idx="2388">
                  <c:v>99.916816358243864</c:v>
                </c:pt>
                <c:pt idx="2389">
                  <c:v>99.824584153231285</c:v>
                </c:pt>
                <c:pt idx="2390">
                  <c:v>99.824100070529539</c:v>
                </c:pt>
                <c:pt idx="2391">
                  <c:v>99.770041548100721</c:v>
                </c:pt>
                <c:pt idx="2392">
                  <c:v>99.699516719261055</c:v>
                </c:pt>
                <c:pt idx="2393">
                  <c:v>99.684644495657153</c:v>
                </c:pt>
                <c:pt idx="2394">
                  <c:v>99.684239328443027</c:v>
                </c:pt>
                <c:pt idx="2395">
                  <c:v>99.63027825176971</c:v>
                </c:pt>
                <c:pt idx="2396">
                  <c:v>99.5992431640625</c:v>
                </c:pt>
                <c:pt idx="2397">
                  <c:v>99.578284767025707</c:v>
                </c:pt>
                <c:pt idx="2398">
                  <c:v>99.496427536010742</c:v>
                </c:pt>
                <c:pt idx="2399">
                  <c:v>99.463639978554511</c:v>
                </c:pt>
                <c:pt idx="2400">
                  <c:v>99.442006714079071</c:v>
                </c:pt>
                <c:pt idx="2401">
                  <c:v>99.348061031765383</c:v>
                </c:pt>
                <c:pt idx="2402">
                  <c:v>99.326273176405152</c:v>
                </c:pt>
                <c:pt idx="2403">
                  <c:v>99.208597264920286</c:v>
                </c:pt>
                <c:pt idx="2404">
                  <c:v>99.199159348886838</c:v>
                </c:pt>
                <c:pt idx="2405">
                  <c:v>99.193892409768296</c:v>
                </c:pt>
                <c:pt idx="2406">
                  <c:v>99.19372337813445</c:v>
                </c:pt>
                <c:pt idx="2407">
                  <c:v>99.158411802085652</c:v>
                </c:pt>
                <c:pt idx="2408">
                  <c:v>99.13651503211679</c:v>
                </c:pt>
                <c:pt idx="2409">
                  <c:v>99.121306518898564</c:v>
                </c:pt>
                <c:pt idx="2410">
                  <c:v>99.058234575059714</c:v>
                </c:pt>
                <c:pt idx="2411">
                  <c:v>99.008787838264652</c:v>
                </c:pt>
                <c:pt idx="2412">
                  <c:v>98.980096861225206</c:v>
                </c:pt>
                <c:pt idx="2413">
                  <c:v>98.974864507604593</c:v>
                </c:pt>
                <c:pt idx="2414">
                  <c:v>98.973233275831831</c:v>
                </c:pt>
                <c:pt idx="2415">
                  <c:v>98.966849512398994</c:v>
                </c:pt>
                <c:pt idx="2416">
                  <c:v>98.965839385986328</c:v>
                </c:pt>
                <c:pt idx="2417">
                  <c:v>98.948278868640045</c:v>
                </c:pt>
                <c:pt idx="2418">
                  <c:v>98.906741729370424</c:v>
                </c:pt>
                <c:pt idx="2419">
                  <c:v>98.900057057546974</c:v>
                </c:pt>
                <c:pt idx="2420">
                  <c:v>98.793062458325608</c:v>
                </c:pt>
                <c:pt idx="2421">
                  <c:v>98.770649173539368</c:v>
                </c:pt>
                <c:pt idx="2422">
                  <c:v>98.748098725248951</c:v>
                </c:pt>
                <c:pt idx="2423">
                  <c:v>98.736213705474938</c:v>
                </c:pt>
                <c:pt idx="2424">
                  <c:v>98.678168087005588</c:v>
                </c:pt>
                <c:pt idx="2425">
                  <c:v>98.638470154611468</c:v>
                </c:pt>
                <c:pt idx="2426">
                  <c:v>98.615037360969382</c:v>
                </c:pt>
                <c:pt idx="2427">
                  <c:v>98.518341475266766</c:v>
                </c:pt>
                <c:pt idx="2428">
                  <c:v>98.513642398894717</c:v>
                </c:pt>
                <c:pt idx="2429">
                  <c:v>98.477756454182099</c:v>
                </c:pt>
                <c:pt idx="2430">
                  <c:v>98.457348632812455</c:v>
                </c:pt>
                <c:pt idx="2431">
                  <c:v>98.454980482117207</c:v>
                </c:pt>
                <c:pt idx="2432">
                  <c:v>98.451176253872291</c:v>
                </c:pt>
                <c:pt idx="2433">
                  <c:v>98.432732788721751</c:v>
                </c:pt>
                <c:pt idx="2434">
                  <c:v>98.348403332086264</c:v>
                </c:pt>
                <c:pt idx="2435">
                  <c:v>98.31690408675388</c:v>
                </c:pt>
                <c:pt idx="2436">
                  <c:v>98.18515683297278</c:v>
                </c:pt>
                <c:pt idx="2437">
                  <c:v>98.03397970595006</c:v>
                </c:pt>
                <c:pt idx="2438">
                  <c:v>98.018958289337661</c:v>
                </c:pt>
                <c:pt idx="2439">
                  <c:v>97.971563223379576</c:v>
                </c:pt>
                <c:pt idx="2440">
                  <c:v>97.834339224497512</c:v>
                </c:pt>
                <c:pt idx="2441">
                  <c:v>97.751836097344039</c:v>
                </c:pt>
                <c:pt idx="2442">
                  <c:v>97.71548089784369</c:v>
                </c:pt>
                <c:pt idx="2443">
                  <c:v>97.668173048231324</c:v>
                </c:pt>
                <c:pt idx="2444">
                  <c:v>97.6519390258253</c:v>
                </c:pt>
                <c:pt idx="2445">
                  <c:v>97.580935413211364</c:v>
                </c:pt>
                <c:pt idx="2446">
                  <c:v>97.532212438662327</c:v>
                </c:pt>
                <c:pt idx="2447">
                  <c:v>97.517876952489246</c:v>
                </c:pt>
                <c:pt idx="2448">
                  <c:v>97.455744825998977</c:v>
                </c:pt>
                <c:pt idx="2449">
                  <c:v>97.33997993952687</c:v>
                </c:pt>
                <c:pt idx="2450">
                  <c:v>97.324633532237613</c:v>
                </c:pt>
                <c:pt idx="2451">
                  <c:v>97.315362083318178</c:v>
                </c:pt>
                <c:pt idx="2452">
                  <c:v>97.291224057779232</c:v>
                </c:pt>
                <c:pt idx="2453">
                  <c:v>97.271998765733542</c:v>
                </c:pt>
                <c:pt idx="2454">
                  <c:v>97.216031147291233</c:v>
                </c:pt>
                <c:pt idx="2455">
                  <c:v>97.152880698704166</c:v>
                </c:pt>
                <c:pt idx="2456">
                  <c:v>97.076592160396103</c:v>
                </c:pt>
                <c:pt idx="2457">
                  <c:v>97.054501126136302</c:v>
                </c:pt>
                <c:pt idx="2458">
                  <c:v>96.996422831217501</c:v>
                </c:pt>
                <c:pt idx="2459">
                  <c:v>96.93322608701942</c:v>
                </c:pt>
                <c:pt idx="2460">
                  <c:v>96.911094283271154</c:v>
                </c:pt>
                <c:pt idx="2461">
                  <c:v>96.895905766678538</c:v>
                </c:pt>
                <c:pt idx="2462">
                  <c:v>96.854332508428115</c:v>
                </c:pt>
                <c:pt idx="2463">
                  <c:v>96.847503642853894</c:v>
                </c:pt>
                <c:pt idx="2464">
                  <c:v>96.797184289558459</c:v>
                </c:pt>
                <c:pt idx="2465">
                  <c:v>96.744017961290183</c:v>
                </c:pt>
                <c:pt idx="2466">
                  <c:v>96.734883795844212</c:v>
                </c:pt>
                <c:pt idx="2467">
                  <c:v>96.722124142116968</c:v>
                </c:pt>
                <c:pt idx="2468">
                  <c:v>96.708687337239553</c:v>
                </c:pt>
                <c:pt idx="2469">
                  <c:v>96.599250071834717</c:v>
                </c:pt>
                <c:pt idx="2470">
                  <c:v>96.558322482638914</c:v>
                </c:pt>
                <c:pt idx="2471">
                  <c:v>96.532125040690062</c:v>
                </c:pt>
                <c:pt idx="2472">
                  <c:v>96.518183268567896</c:v>
                </c:pt>
                <c:pt idx="2473">
                  <c:v>96.475718688964889</c:v>
                </c:pt>
                <c:pt idx="2474">
                  <c:v>96.464581837252695</c:v>
                </c:pt>
                <c:pt idx="2475">
                  <c:v>96.451188016528931</c:v>
                </c:pt>
                <c:pt idx="2476">
                  <c:v>96.449946618026388</c:v>
                </c:pt>
                <c:pt idx="2477">
                  <c:v>96.370866832260276</c:v>
                </c:pt>
                <c:pt idx="2478">
                  <c:v>96.364885971691592</c:v>
                </c:pt>
                <c:pt idx="2479">
                  <c:v>96.360099038274029</c:v>
                </c:pt>
                <c:pt idx="2480">
                  <c:v>96.342016435776031</c:v>
                </c:pt>
                <c:pt idx="2481">
                  <c:v>96.292015395545604</c:v>
                </c:pt>
                <c:pt idx="2482">
                  <c:v>96.230085754394622</c:v>
                </c:pt>
                <c:pt idx="2483">
                  <c:v>96.228648211137738</c:v>
                </c:pt>
                <c:pt idx="2484">
                  <c:v>96.195498637615401</c:v>
                </c:pt>
                <c:pt idx="2485">
                  <c:v>96.143921067979591</c:v>
                </c:pt>
                <c:pt idx="2486">
                  <c:v>96.088632795545777</c:v>
                </c:pt>
                <c:pt idx="2487">
                  <c:v>96.040250384012893</c:v>
                </c:pt>
                <c:pt idx="2488">
                  <c:v>95.998937733968091</c:v>
                </c:pt>
                <c:pt idx="2489">
                  <c:v>95.996411249126936</c:v>
                </c:pt>
                <c:pt idx="2490">
                  <c:v>95.888273357956905</c:v>
                </c:pt>
                <c:pt idx="2491">
                  <c:v>95.792913818359352</c:v>
                </c:pt>
                <c:pt idx="2492">
                  <c:v>95.704846359511521</c:v>
                </c:pt>
                <c:pt idx="2493">
                  <c:v>95.648005218137087</c:v>
                </c:pt>
                <c:pt idx="2494">
                  <c:v>95.604574245876734</c:v>
                </c:pt>
                <c:pt idx="2495">
                  <c:v>95.54654514439892</c:v>
                </c:pt>
                <c:pt idx="2496">
                  <c:v>95.540711647665034</c:v>
                </c:pt>
                <c:pt idx="2497">
                  <c:v>95.514863912708734</c:v>
                </c:pt>
                <c:pt idx="2498">
                  <c:v>95.486403283033383</c:v>
                </c:pt>
                <c:pt idx="2499">
                  <c:v>95.43114452362056</c:v>
                </c:pt>
                <c:pt idx="2500">
                  <c:v>95.424852154413543</c:v>
                </c:pt>
                <c:pt idx="2501">
                  <c:v>95.404946683954449</c:v>
                </c:pt>
                <c:pt idx="2502">
                  <c:v>95.365585453852418</c:v>
                </c:pt>
                <c:pt idx="2503">
                  <c:v>95.364485501982585</c:v>
                </c:pt>
                <c:pt idx="2504">
                  <c:v>95.35145682385064</c:v>
                </c:pt>
                <c:pt idx="2505">
                  <c:v>95.33203125</c:v>
                </c:pt>
                <c:pt idx="2506">
                  <c:v>95.329980214436887</c:v>
                </c:pt>
                <c:pt idx="2507">
                  <c:v>95.327914414724546</c:v>
                </c:pt>
                <c:pt idx="2508">
                  <c:v>95.112842883604571</c:v>
                </c:pt>
                <c:pt idx="2509">
                  <c:v>95.054421953075121</c:v>
                </c:pt>
                <c:pt idx="2510">
                  <c:v>94.981273101178544</c:v>
                </c:pt>
                <c:pt idx="2511">
                  <c:v>94.971537736123196</c:v>
                </c:pt>
                <c:pt idx="2512">
                  <c:v>94.95361328125</c:v>
                </c:pt>
                <c:pt idx="2513">
                  <c:v>94.881246814926953</c:v>
                </c:pt>
                <c:pt idx="2514">
                  <c:v>94.852395675339721</c:v>
                </c:pt>
                <c:pt idx="2515">
                  <c:v>94.84257202148433</c:v>
                </c:pt>
                <c:pt idx="2516">
                  <c:v>94.776698365758648</c:v>
                </c:pt>
                <c:pt idx="2517">
                  <c:v>94.749886766101326</c:v>
                </c:pt>
                <c:pt idx="2518">
                  <c:v>94.698757104497872</c:v>
                </c:pt>
                <c:pt idx="2519">
                  <c:v>94.656557706643639</c:v>
                </c:pt>
                <c:pt idx="2520">
                  <c:v>94.647292582194041</c:v>
                </c:pt>
                <c:pt idx="2521">
                  <c:v>94.624157532821414</c:v>
                </c:pt>
                <c:pt idx="2522">
                  <c:v>94.591831634053733</c:v>
                </c:pt>
                <c:pt idx="2523">
                  <c:v>94.513711293538449</c:v>
                </c:pt>
                <c:pt idx="2524">
                  <c:v>94.476548716577327</c:v>
                </c:pt>
                <c:pt idx="2525">
                  <c:v>94.360183853757803</c:v>
                </c:pt>
                <c:pt idx="2526">
                  <c:v>94.352612615646308</c:v>
                </c:pt>
                <c:pt idx="2527">
                  <c:v>94.3476901177429</c:v>
                </c:pt>
                <c:pt idx="2528">
                  <c:v>94.2950439453125</c:v>
                </c:pt>
                <c:pt idx="2529">
                  <c:v>94.266680234972796</c:v>
                </c:pt>
                <c:pt idx="2530">
                  <c:v>94.22197870569164</c:v>
                </c:pt>
                <c:pt idx="2531">
                  <c:v>94.20752207515477</c:v>
                </c:pt>
                <c:pt idx="2532">
                  <c:v>94.175563256299142</c:v>
                </c:pt>
                <c:pt idx="2533">
                  <c:v>94.140173923658267</c:v>
                </c:pt>
                <c:pt idx="2534">
                  <c:v>94.139699354171739</c:v>
                </c:pt>
                <c:pt idx="2535">
                  <c:v>94.079013327325924</c:v>
                </c:pt>
                <c:pt idx="2536">
                  <c:v>94.0524219089084</c:v>
                </c:pt>
                <c:pt idx="2537">
                  <c:v>94.050687070154595</c:v>
                </c:pt>
                <c:pt idx="2538">
                  <c:v>94.026812396392074</c:v>
                </c:pt>
                <c:pt idx="2539">
                  <c:v>94.017595585717118</c:v>
                </c:pt>
                <c:pt idx="2540">
                  <c:v>94.017282713421309</c:v>
                </c:pt>
                <c:pt idx="2541">
                  <c:v>93.982355506674821</c:v>
                </c:pt>
                <c:pt idx="2542">
                  <c:v>93.967125362820184</c:v>
                </c:pt>
                <c:pt idx="2543">
                  <c:v>93.961657296397675</c:v>
                </c:pt>
                <c:pt idx="2544">
                  <c:v>93.948712595244956</c:v>
                </c:pt>
                <c:pt idx="2545">
                  <c:v>93.946517520480711</c:v>
                </c:pt>
                <c:pt idx="2546">
                  <c:v>93.82532761216828</c:v>
                </c:pt>
                <c:pt idx="2547">
                  <c:v>93.815102735935739</c:v>
                </c:pt>
                <c:pt idx="2548">
                  <c:v>93.745696812841175</c:v>
                </c:pt>
                <c:pt idx="2549">
                  <c:v>93.727570812829299</c:v>
                </c:pt>
                <c:pt idx="2550">
                  <c:v>93.714349331325934</c:v>
                </c:pt>
                <c:pt idx="2551">
                  <c:v>93.624688041329136</c:v>
                </c:pt>
                <c:pt idx="2552">
                  <c:v>93.507187009601239</c:v>
                </c:pt>
                <c:pt idx="2553">
                  <c:v>93.289438035753051</c:v>
                </c:pt>
                <c:pt idx="2554">
                  <c:v>93.116086520861813</c:v>
                </c:pt>
                <c:pt idx="2555">
                  <c:v>93.082721323022838</c:v>
                </c:pt>
                <c:pt idx="2556">
                  <c:v>93.068776772239062</c:v>
                </c:pt>
                <c:pt idx="2557">
                  <c:v>93.04974365234375</c:v>
                </c:pt>
                <c:pt idx="2558">
                  <c:v>92.992321240460456</c:v>
                </c:pt>
                <c:pt idx="2559">
                  <c:v>92.967558466675996</c:v>
                </c:pt>
                <c:pt idx="2560">
                  <c:v>92.963906801082658</c:v>
                </c:pt>
                <c:pt idx="2561">
                  <c:v>92.93848014682419</c:v>
                </c:pt>
                <c:pt idx="2562">
                  <c:v>92.877715601672435</c:v>
                </c:pt>
                <c:pt idx="2563">
                  <c:v>92.871314536186219</c:v>
                </c:pt>
                <c:pt idx="2564">
                  <c:v>92.784778127762252</c:v>
                </c:pt>
                <c:pt idx="2565">
                  <c:v>92.780834537082228</c:v>
                </c:pt>
                <c:pt idx="2566">
                  <c:v>92.678444332546633</c:v>
                </c:pt>
                <c:pt idx="2567">
                  <c:v>92.627467417775847</c:v>
                </c:pt>
                <c:pt idx="2568">
                  <c:v>92.554914357749567</c:v>
                </c:pt>
                <c:pt idx="2569">
                  <c:v>92.526420906024896</c:v>
                </c:pt>
                <c:pt idx="2570">
                  <c:v>92.505313777887636</c:v>
                </c:pt>
                <c:pt idx="2571">
                  <c:v>92.472922211151513</c:v>
                </c:pt>
                <c:pt idx="2572">
                  <c:v>92.460098944769925</c:v>
                </c:pt>
                <c:pt idx="2573">
                  <c:v>92.448014622234155</c:v>
                </c:pt>
                <c:pt idx="2574">
                  <c:v>92.407525634765648</c:v>
                </c:pt>
                <c:pt idx="2575">
                  <c:v>92.365075188530909</c:v>
                </c:pt>
                <c:pt idx="2576">
                  <c:v>92.293638243241503</c:v>
                </c:pt>
                <c:pt idx="2577">
                  <c:v>92.158705375887848</c:v>
                </c:pt>
                <c:pt idx="2578">
                  <c:v>92.102593994140648</c:v>
                </c:pt>
                <c:pt idx="2579">
                  <c:v>92.085629018147756</c:v>
                </c:pt>
                <c:pt idx="2580">
                  <c:v>92.080972888905535</c:v>
                </c:pt>
                <c:pt idx="2581">
                  <c:v>92.055052764142147</c:v>
                </c:pt>
                <c:pt idx="2582">
                  <c:v>92.035940817223377</c:v>
                </c:pt>
                <c:pt idx="2583">
                  <c:v>91.829832371021439</c:v>
                </c:pt>
                <c:pt idx="2584">
                  <c:v>91.800236143889265</c:v>
                </c:pt>
                <c:pt idx="2585">
                  <c:v>91.769846764744898</c:v>
                </c:pt>
                <c:pt idx="2586">
                  <c:v>91.753876919216623</c:v>
                </c:pt>
                <c:pt idx="2587">
                  <c:v>91.71685791015625</c:v>
                </c:pt>
                <c:pt idx="2588">
                  <c:v>91.651667440281017</c:v>
                </c:pt>
                <c:pt idx="2589">
                  <c:v>91.640680173659234</c:v>
                </c:pt>
                <c:pt idx="2590">
                  <c:v>91.57415771484375</c:v>
                </c:pt>
                <c:pt idx="2591">
                  <c:v>91.493505772484696</c:v>
                </c:pt>
                <c:pt idx="2592">
                  <c:v>91.43424717902235</c:v>
                </c:pt>
                <c:pt idx="2593">
                  <c:v>91.2874755859375</c:v>
                </c:pt>
                <c:pt idx="2594">
                  <c:v>91.280241563585037</c:v>
                </c:pt>
                <c:pt idx="2595">
                  <c:v>91.218709113980594</c:v>
                </c:pt>
                <c:pt idx="2596">
                  <c:v>91.131371844866976</c:v>
                </c:pt>
                <c:pt idx="2597">
                  <c:v>91.065354332005995</c:v>
                </c:pt>
                <c:pt idx="2598">
                  <c:v>91.039295094807926</c:v>
                </c:pt>
                <c:pt idx="2599">
                  <c:v>91.038158056235716</c:v>
                </c:pt>
                <c:pt idx="2600">
                  <c:v>90.965225123045457</c:v>
                </c:pt>
                <c:pt idx="2601">
                  <c:v>90.869332173291809</c:v>
                </c:pt>
                <c:pt idx="2602">
                  <c:v>90.867842801411939</c:v>
                </c:pt>
                <c:pt idx="2603">
                  <c:v>90.824735716522696</c:v>
                </c:pt>
                <c:pt idx="2604">
                  <c:v>90.719669528199461</c:v>
                </c:pt>
                <c:pt idx="2605">
                  <c:v>90.636064713089581</c:v>
                </c:pt>
                <c:pt idx="2606">
                  <c:v>90.628232928458374</c:v>
                </c:pt>
                <c:pt idx="2607">
                  <c:v>90.608039125902792</c:v>
                </c:pt>
                <c:pt idx="2608">
                  <c:v>90.418974388970241</c:v>
                </c:pt>
                <c:pt idx="2609">
                  <c:v>90.414973243863301</c:v>
                </c:pt>
                <c:pt idx="2610">
                  <c:v>90.402344242583581</c:v>
                </c:pt>
                <c:pt idx="2611">
                  <c:v>90.322725468388285</c:v>
                </c:pt>
                <c:pt idx="2612">
                  <c:v>90.303943125406931</c:v>
                </c:pt>
                <c:pt idx="2613">
                  <c:v>90.29480150010852</c:v>
                </c:pt>
                <c:pt idx="2614">
                  <c:v>90.097337333607811</c:v>
                </c:pt>
                <c:pt idx="2615">
                  <c:v>90.086406115653631</c:v>
                </c:pt>
                <c:pt idx="2616">
                  <c:v>90.078850792259232</c:v>
                </c:pt>
                <c:pt idx="2617">
                  <c:v>90.068379720052121</c:v>
                </c:pt>
                <c:pt idx="2618">
                  <c:v>90.029549716046517</c:v>
                </c:pt>
                <c:pt idx="2619">
                  <c:v>89.922149918987884</c:v>
                </c:pt>
                <c:pt idx="2620">
                  <c:v>89.884502165155595</c:v>
                </c:pt>
                <c:pt idx="2621">
                  <c:v>89.860510168797418</c:v>
                </c:pt>
                <c:pt idx="2622">
                  <c:v>89.698486240776219</c:v>
                </c:pt>
                <c:pt idx="2623">
                  <c:v>89.697998046875</c:v>
                </c:pt>
                <c:pt idx="2624">
                  <c:v>89.697998046875</c:v>
                </c:pt>
                <c:pt idx="2625">
                  <c:v>89.697998046875</c:v>
                </c:pt>
                <c:pt idx="2626">
                  <c:v>89.697998046875</c:v>
                </c:pt>
                <c:pt idx="2627">
                  <c:v>89.64984130859375</c:v>
                </c:pt>
                <c:pt idx="2628">
                  <c:v>89.64135438036044</c:v>
                </c:pt>
                <c:pt idx="2629">
                  <c:v>89.621145953554105</c:v>
                </c:pt>
                <c:pt idx="2630">
                  <c:v>89.599687535357589</c:v>
                </c:pt>
                <c:pt idx="2631">
                  <c:v>89.540085471077532</c:v>
                </c:pt>
                <c:pt idx="2632">
                  <c:v>89.486142262193312</c:v>
                </c:pt>
                <c:pt idx="2633">
                  <c:v>89.393533353931275</c:v>
                </c:pt>
                <c:pt idx="2634">
                  <c:v>89.339898681640648</c:v>
                </c:pt>
                <c:pt idx="2635">
                  <c:v>89.311313372744621</c:v>
                </c:pt>
                <c:pt idx="2636">
                  <c:v>89.306159668279975</c:v>
                </c:pt>
                <c:pt idx="2637">
                  <c:v>89.302345595183283</c:v>
                </c:pt>
                <c:pt idx="2638">
                  <c:v>89.191864183213966</c:v>
                </c:pt>
                <c:pt idx="2639">
                  <c:v>89.106685617729454</c:v>
                </c:pt>
                <c:pt idx="2640">
                  <c:v>88.983440366512241</c:v>
                </c:pt>
                <c:pt idx="2641">
                  <c:v>88.95632648573303</c:v>
                </c:pt>
                <c:pt idx="2642">
                  <c:v>88.928149756320295</c:v>
                </c:pt>
                <c:pt idx="2643">
                  <c:v>88.887493770765673</c:v>
                </c:pt>
                <c:pt idx="2644">
                  <c:v>88.81290370982174</c:v>
                </c:pt>
                <c:pt idx="2645">
                  <c:v>88.71826171875</c:v>
                </c:pt>
                <c:pt idx="2646">
                  <c:v>88.703884675767654</c:v>
                </c:pt>
                <c:pt idx="2647">
                  <c:v>88.696405783117598</c:v>
                </c:pt>
                <c:pt idx="2648">
                  <c:v>88.682873783111518</c:v>
                </c:pt>
                <c:pt idx="2649">
                  <c:v>88.633102147178874</c:v>
                </c:pt>
                <c:pt idx="2650">
                  <c:v>88.631482232571216</c:v>
                </c:pt>
                <c:pt idx="2651">
                  <c:v>88.616731431749145</c:v>
                </c:pt>
                <c:pt idx="2652">
                  <c:v>88.539675674065279</c:v>
                </c:pt>
                <c:pt idx="2653">
                  <c:v>88.490700853985913</c:v>
                </c:pt>
                <c:pt idx="2654">
                  <c:v>88.478261566162132</c:v>
                </c:pt>
                <c:pt idx="2655">
                  <c:v>88.412700803391886</c:v>
                </c:pt>
                <c:pt idx="2656">
                  <c:v>88.372429875222906</c:v>
                </c:pt>
                <c:pt idx="2657">
                  <c:v>88.352935114725824</c:v>
                </c:pt>
                <c:pt idx="2658">
                  <c:v>88.260525314555707</c:v>
                </c:pt>
                <c:pt idx="2659">
                  <c:v>88.252458836792584</c:v>
                </c:pt>
                <c:pt idx="2660">
                  <c:v>88.237378692626976</c:v>
                </c:pt>
                <c:pt idx="2661">
                  <c:v>88.23249206542971</c:v>
                </c:pt>
                <c:pt idx="2662">
                  <c:v>88.220414608078499</c:v>
                </c:pt>
                <c:pt idx="2663">
                  <c:v>88.141747460729448</c:v>
                </c:pt>
                <c:pt idx="2664">
                  <c:v>88.130246240240012</c:v>
                </c:pt>
                <c:pt idx="2665">
                  <c:v>88.095771805592562</c:v>
                </c:pt>
                <c:pt idx="2666">
                  <c:v>87.944044549319869</c:v>
                </c:pt>
                <c:pt idx="2667">
                  <c:v>87.815915786306391</c:v>
                </c:pt>
                <c:pt idx="2668">
                  <c:v>87.792026858859572</c:v>
                </c:pt>
                <c:pt idx="2669">
                  <c:v>87.7474365234375</c:v>
                </c:pt>
                <c:pt idx="2670">
                  <c:v>87.723324169770081</c:v>
                </c:pt>
                <c:pt idx="2671">
                  <c:v>87.667245476571225</c:v>
                </c:pt>
                <c:pt idx="2672">
                  <c:v>87.635031043158619</c:v>
                </c:pt>
                <c:pt idx="2673">
                  <c:v>87.609077631040918</c:v>
                </c:pt>
                <c:pt idx="2674">
                  <c:v>87.563618538871765</c:v>
                </c:pt>
                <c:pt idx="2675">
                  <c:v>87.483309464470949</c:v>
                </c:pt>
                <c:pt idx="2676">
                  <c:v>87.425977800567466</c:v>
                </c:pt>
                <c:pt idx="2677">
                  <c:v>87.245005833866344</c:v>
                </c:pt>
                <c:pt idx="2678">
                  <c:v>87.219007207067534</c:v>
                </c:pt>
                <c:pt idx="2679">
                  <c:v>87.179099911583762</c:v>
                </c:pt>
                <c:pt idx="2680">
                  <c:v>87.160438293624566</c:v>
                </c:pt>
                <c:pt idx="2681">
                  <c:v>87.14223491527423</c:v>
                </c:pt>
                <c:pt idx="2682">
                  <c:v>87.122273465455237</c:v>
                </c:pt>
                <c:pt idx="2683">
                  <c:v>87.116839090983035</c:v>
                </c:pt>
                <c:pt idx="2684">
                  <c:v>87.0979231491051</c:v>
                </c:pt>
                <c:pt idx="2685">
                  <c:v>87.031735907660618</c:v>
                </c:pt>
                <c:pt idx="2686">
                  <c:v>87.02055016117356</c:v>
                </c:pt>
                <c:pt idx="2687">
                  <c:v>87.010989314905487</c:v>
                </c:pt>
                <c:pt idx="2688">
                  <c:v>87.003553246589263</c:v>
                </c:pt>
                <c:pt idx="2689">
                  <c:v>86.917743292119781</c:v>
                </c:pt>
                <c:pt idx="2690">
                  <c:v>86.855689053005676</c:v>
                </c:pt>
                <c:pt idx="2691">
                  <c:v>86.837755522162411</c:v>
                </c:pt>
                <c:pt idx="2692">
                  <c:v>86.7569796646751</c:v>
                </c:pt>
                <c:pt idx="2693">
                  <c:v>86.691443479363215</c:v>
                </c:pt>
                <c:pt idx="2694">
                  <c:v>86.560576036241287</c:v>
                </c:pt>
                <c:pt idx="2695">
                  <c:v>86.54743760259521</c:v>
                </c:pt>
                <c:pt idx="2696">
                  <c:v>86.51885986328125</c:v>
                </c:pt>
                <c:pt idx="2697">
                  <c:v>86.5025634765625</c:v>
                </c:pt>
                <c:pt idx="2698">
                  <c:v>86.45557219917589</c:v>
                </c:pt>
                <c:pt idx="2699">
                  <c:v>86.454214383478075</c:v>
                </c:pt>
                <c:pt idx="2700">
                  <c:v>86.439909193250855</c:v>
                </c:pt>
                <c:pt idx="2701">
                  <c:v>86.376196537724354</c:v>
                </c:pt>
                <c:pt idx="2702">
                  <c:v>86.346177392041113</c:v>
                </c:pt>
                <c:pt idx="2703">
                  <c:v>86.157470703125</c:v>
                </c:pt>
                <c:pt idx="2704">
                  <c:v>86.14116333149093</c:v>
                </c:pt>
                <c:pt idx="2705">
                  <c:v>86.122562865431519</c:v>
                </c:pt>
                <c:pt idx="2706">
                  <c:v>85.99786376953125</c:v>
                </c:pt>
                <c:pt idx="2707">
                  <c:v>85.963952861703774</c:v>
                </c:pt>
                <c:pt idx="2708">
                  <c:v>85.943618532827486</c:v>
                </c:pt>
                <c:pt idx="2709">
                  <c:v>85.872576417020355</c:v>
                </c:pt>
                <c:pt idx="2710">
                  <c:v>85.863692969800923</c:v>
                </c:pt>
                <c:pt idx="2711">
                  <c:v>85.848045688205275</c:v>
                </c:pt>
                <c:pt idx="2712">
                  <c:v>85.831045728741287</c:v>
                </c:pt>
                <c:pt idx="2713">
                  <c:v>85.75275480881669</c:v>
                </c:pt>
                <c:pt idx="2714">
                  <c:v>85.47747802734375</c:v>
                </c:pt>
                <c:pt idx="2715">
                  <c:v>85.476676420561034</c:v>
                </c:pt>
                <c:pt idx="2716">
                  <c:v>85.425971437383623</c:v>
                </c:pt>
                <c:pt idx="2717">
                  <c:v>85.389530436197902</c:v>
                </c:pt>
                <c:pt idx="2718">
                  <c:v>85.37811279296875</c:v>
                </c:pt>
                <c:pt idx="2719">
                  <c:v>85.301761313141924</c:v>
                </c:pt>
                <c:pt idx="2720">
                  <c:v>85.236628638373531</c:v>
                </c:pt>
                <c:pt idx="2721">
                  <c:v>85.185205528384245</c:v>
                </c:pt>
                <c:pt idx="2722">
                  <c:v>85.154932691013073</c:v>
                </c:pt>
                <c:pt idx="2723">
                  <c:v>85.096121926282422</c:v>
                </c:pt>
                <c:pt idx="2724">
                  <c:v>85.045384767927544</c:v>
                </c:pt>
                <c:pt idx="2725">
                  <c:v>84.897028350830055</c:v>
                </c:pt>
                <c:pt idx="2726">
                  <c:v>84.876324268318626</c:v>
                </c:pt>
                <c:pt idx="2727">
                  <c:v>84.852886428833017</c:v>
                </c:pt>
                <c:pt idx="2728">
                  <c:v>84.852557985731096</c:v>
                </c:pt>
                <c:pt idx="2729">
                  <c:v>84.731632594538155</c:v>
                </c:pt>
                <c:pt idx="2730">
                  <c:v>84.685883386271485</c:v>
                </c:pt>
                <c:pt idx="2731">
                  <c:v>84.633722471268925</c:v>
                </c:pt>
                <c:pt idx="2732">
                  <c:v>84.60394287109375</c:v>
                </c:pt>
                <c:pt idx="2733">
                  <c:v>84.416024966863006</c:v>
                </c:pt>
                <c:pt idx="2734">
                  <c:v>84.392464350930027</c:v>
                </c:pt>
                <c:pt idx="2735">
                  <c:v>84.381658639409011</c:v>
                </c:pt>
                <c:pt idx="2736">
                  <c:v>84.342836126412863</c:v>
                </c:pt>
                <c:pt idx="2737">
                  <c:v>84.331660746970329</c:v>
                </c:pt>
                <c:pt idx="2738">
                  <c:v>84.304013613416714</c:v>
                </c:pt>
                <c:pt idx="2739">
                  <c:v>84.27801513671875</c:v>
                </c:pt>
                <c:pt idx="2740">
                  <c:v>84.265191100420452</c:v>
                </c:pt>
                <c:pt idx="2741">
                  <c:v>84.170372604610179</c:v>
                </c:pt>
                <c:pt idx="2742">
                  <c:v>84.157699886755836</c:v>
                </c:pt>
                <c:pt idx="2743">
                  <c:v>83.871272889067541</c:v>
                </c:pt>
                <c:pt idx="2744">
                  <c:v>83.843902113802301</c:v>
                </c:pt>
                <c:pt idx="2745">
                  <c:v>83.759356121684164</c:v>
                </c:pt>
                <c:pt idx="2746">
                  <c:v>83.732827165391654</c:v>
                </c:pt>
                <c:pt idx="2747">
                  <c:v>83.693202549090074</c:v>
                </c:pt>
                <c:pt idx="2748">
                  <c:v>83.680502523279529</c:v>
                </c:pt>
                <c:pt idx="2749">
                  <c:v>83.657599611598016</c:v>
                </c:pt>
                <c:pt idx="2750">
                  <c:v>83.62880415002212</c:v>
                </c:pt>
                <c:pt idx="2751">
                  <c:v>83.618764118975832</c:v>
                </c:pt>
                <c:pt idx="2752">
                  <c:v>83.5784912109375</c:v>
                </c:pt>
                <c:pt idx="2753">
                  <c:v>83.52350036940004</c:v>
                </c:pt>
                <c:pt idx="2754">
                  <c:v>83.380065494113524</c:v>
                </c:pt>
                <c:pt idx="2755">
                  <c:v>83.36124877929683</c:v>
                </c:pt>
                <c:pt idx="2756">
                  <c:v>83.2957763671875</c:v>
                </c:pt>
                <c:pt idx="2757">
                  <c:v>83.151219397650834</c:v>
                </c:pt>
                <c:pt idx="2758">
                  <c:v>83.073928070068405</c:v>
                </c:pt>
                <c:pt idx="2759">
                  <c:v>83.004415891203394</c:v>
                </c:pt>
                <c:pt idx="2760">
                  <c:v>83.000171030841784</c:v>
                </c:pt>
                <c:pt idx="2761">
                  <c:v>82.946022542317678</c:v>
                </c:pt>
                <c:pt idx="2762">
                  <c:v>82.931806371658922</c:v>
                </c:pt>
                <c:pt idx="2763">
                  <c:v>82.903930223872635</c:v>
                </c:pt>
                <c:pt idx="2764">
                  <c:v>82.836663562841636</c:v>
                </c:pt>
                <c:pt idx="2765">
                  <c:v>82.822112613254149</c:v>
                </c:pt>
                <c:pt idx="2766">
                  <c:v>82.751941276669413</c:v>
                </c:pt>
                <c:pt idx="2767">
                  <c:v>82.748228082390369</c:v>
                </c:pt>
                <c:pt idx="2768">
                  <c:v>82.728207670745292</c:v>
                </c:pt>
                <c:pt idx="2769">
                  <c:v>82.694001696704049</c:v>
                </c:pt>
                <c:pt idx="2770">
                  <c:v>82.411050923665357</c:v>
                </c:pt>
                <c:pt idx="2771">
                  <c:v>82.388825973284952</c:v>
                </c:pt>
                <c:pt idx="2772">
                  <c:v>82.371074953079187</c:v>
                </c:pt>
                <c:pt idx="2773">
                  <c:v>82.367271423339844</c:v>
                </c:pt>
                <c:pt idx="2774">
                  <c:v>82.192313021873588</c:v>
                </c:pt>
                <c:pt idx="2775">
                  <c:v>82.1280517578125</c:v>
                </c:pt>
                <c:pt idx="2776">
                  <c:v>82.080220031738236</c:v>
                </c:pt>
                <c:pt idx="2777">
                  <c:v>82.054872760537251</c:v>
                </c:pt>
                <c:pt idx="2778">
                  <c:v>81.813435360616836</c:v>
                </c:pt>
                <c:pt idx="2779">
                  <c:v>81.68240798387319</c:v>
                </c:pt>
                <c:pt idx="2780">
                  <c:v>81.6292316891263</c:v>
                </c:pt>
                <c:pt idx="2781">
                  <c:v>81.59832535001965</c:v>
                </c:pt>
                <c:pt idx="2782">
                  <c:v>81.472080501840196</c:v>
                </c:pt>
                <c:pt idx="2783">
                  <c:v>81.438128960068184</c:v>
                </c:pt>
                <c:pt idx="2784">
                  <c:v>81.41457845170703</c:v>
                </c:pt>
                <c:pt idx="2785">
                  <c:v>81.339111328125</c:v>
                </c:pt>
                <c:pt idx="2786">
                  <c:v>81.337042022473952</c:v>
                </c:pt>
                <c:pt idx="2787">
                  <c:v>81.223850439483385</c:v>
                </c:pt>
                <c:pt idx="2788">
                  <c:v>81.13662687314104</c:v>
                </c:pt>
                <c:pt idx="2789">
                  <c:v>81.135318585074174</c:v>
                </c:pt>
                <c:pt idx="2790">
                  <c:v>81.074208123139329</c:v>
                </c:pt>
                <c:pt idx="2791">
                  <c:v>81.042558423823607</c:v>
                </c:pt>
                <c:pt idx="2792">
                  <c:v>81.030335127609305</c:v>
                </c:pt>
                <c:pt idx="2793">
                  <c:v>81.01273616463493</c:v>
                </c:pt>
                <c:pt idx="2794">
                  <c:v>80.88183286358219</c:v>
                </c:pt>
                <c:pt idx="2795">
                  <c:v>80.7955322265625</c:v>
                </c:pt>
                <c:pt idx="2796">
                  <c:v>80.751944986979197</c:v>
                </c:pt>
                <c:pt idx="2797">
                  <c:v>80.494649659110109</c:v>
                </c:pt>
                <c:pt idx="2798">
                  <c:v>80.461622645839384</c:v>
                </c:pt>
                <c:pt idx="2799">
                  <c:v>80.408146151571486</c:v>
                </c:pt>
                <c:pt idx="2800">
                  <c:v>80.332593960232202</c:v>
                </c:pt>
                <c:pt idx="2801">
                  <c:v>80.29083956074885</c:v>
                </c:pt>
                <c:pt idx="2802">
                  <c:v>80.287589518229197</c:v>
                </c:pt>
                <c:pt idx="2803">
                  <c:v>80.272067785557738</c:v>
                </c:pt>
                <c:pt idx="2804">
                  <c:v>80.064713430634356</c:v>
                </c:pt>
                <c:pt idx="2805">
                  <c:v>80.04700441665625</c:v>
                </c:pt>
                <c:pt idx="2806">
                  <c:v>79.975218876283179</c:v>
                </c:pt>
                <c:pt idx="2807">
                  <c:v>79.955140690496705</c:v>
                </c:pt>
                <c:pt idx="2808">
                  <c:v>79.900116806277197</c:v>
                </c:pt>
                <c:pt idx="2809">
                  <c:v>79.868328591805948</c:v>
                </c:pt>
                <c:pt idx="2810">
                  <c:v>79.735151314598966</c:v>
                </c:pt>
                <c:pt idx="2811">
                  <c:v>79.450075994175222</c:v>
                </c:pt>
                <c:pt idx="2812">
                  <c:v>79.424836471705817</c:v>
                </c:pt>
                <c:pt idx="2813">
                  <c:v>79.378263793921633</c:v>
                </c:pt>
                <c:pt idx="2814">
                  <c:v>79.2940253645761</c:v>
                </c:pt>
                <c:pt idx="2815">
                  <c:v>79.259879119501988</c:v>
                </c:pt>
                <c:pt idx="2816">
                  <c:v>79.167518082371544</c:v>
                </c:pt>
                <c:pt idx="2817">
                  <c:v>79.116051455906472</c:v>
                </c:pt>
                <c:pt idx="2818">
                  <c:v>79.066365983751098</c:v>
                </c:pt>
                <c:pt idx="2819">
                  <c:v>79.052238877139871</c:v>
                </c:pt>
                <c:pt idx="2820">
                  <c:v>78.993807217535846</c:v>
                </c:pt>
                <c:pt idx="2821">
                  <c:v>78.859604528206319</c:v>
                </c:pt>
                <c:pt idx="2822">
                  <c:v>78.827639288564342</c:v>
                </c:pt>
                <c:pt idx="2823">
                  <c:v>78.5587158203125</c:v>
                </c:pt>
                <c:pt idx="2824">
                  <c:v>78.431385658929571</c:v>
                </c:pt>
                <c:pt idx="2825">
                  <c:v>78.162102401521452</c:v>
                </c:pt>
                <c:pt idx="2826">
                  <c:v>77.947245530837677</c:v>
                </c:pt>
                <c:pt idx="2827">
                  <c:v>77.709657699997365</c:v>
                </c:pt>
                <c:pt idx="2828">
                  <c:v>77.698291362744499</c:v>
                </c:pt>
                <c:pt idx="2829">
                  <c:v>77.571202973580512</c:v>
                </c:pt>
                <c:pt idx="2830">
                  <c:v>77.494534148503817</c:v>
                </c:pt>
                <c:pt idx="2831">
                  <c:v>77.433435397677954</c:v>
                </c:pt>
                <c:pt idx="2832">
                  <c:v>77.412967277167695</c:v>
                </c:pt>
                <c:pt idx="2833">
                  <c:v>77.345721176013285</c:v>
                </c:pt>
                <c:pt idx="2834">
                  <c:v>77.223547520096872</c:v>
                </c:pt>
                <c:pt idx="2835">
                  <c:v>77.21582191836012</c:v>
                </c:pt>
                <c:pt idx="2836">
                  <c:v>77.150177817504186</c:v>
                </c:pt>
                <c:pt idx="2837">
                  <c:v>77.146385501099758</c:v>
                </c:pt>
                <c:pt idx="2838">
                  <c:v>77.139596472846165</c:v>
                </c:pt>
                <c:pt idx="2839">
                  <c:v>77.063559848988348</c:v>
                </c:pt>
                <c:pt idx="2840">
                  <c:v>77.060725911458348</c:v>
                </c:pt>
                <c:pt idx="2841">
                  <c:v>76.997245805347575</c:v>
                </c:pt>
                <c:pt idx="2842">
                  <c:v>76.94345444474709</c:v>
                </c:pt>
                <c:pt idx="2843">
                  <c:v>76.825357399060522</c:v>
                </c:pt>
                <c:pt idx="2844">
                  <c:v>76.693906063503732</c:v>
                </c:pt>
                <c:pt idx="2845">
                  <c:v>76.684815003229801</c:v>
                </c:pt>
                <c:pt idx="2846">
                  <c:v>76.68199559261916</c:v>
                </c:pt>
                <c:pt idx="2847">
                  <c:v>76.590032576283534</c:v>
                </c:pt>
                <c:pt idx="2848">
                  <c:v>76.441599367612753</c:v>
                </c:pt>
                <c:pt idx="2849">
                  <c:v>76.156225410141815</c:v>
                </c:pt>
                <c:pt idx="2850">
                  <c:v>76.124629097529464</c:v>
                </c:pt>
                <c:pt idx="2851">
                  <c:v>76.043542795012627</c:v>
                </c:pt>
                <c:pt idx="2852">
                  <c:v>76.007587895318352</c:v>
                </c:pt>
                <c:pt idx="2853">
                  <c:v>75.999215654579416</c:v>
                </c:pt>
                <c:pt idx="2854">
                  <c:v>75.926121709771905</c:v>
                </c:pt>
                <c:pt idx="2855">
                  <c:v>75.916329673017458</c:v>
                </c:pt>
                <c:pt idx="2856">
                  <c:v>75.787837276910409</c:v>
                </c:pt>
                <c:pt idx="2857">
                  <c:v>75.480019263790041</c:v>
                </c:pt>
                <c:pt idx="2858">
                  <c:v>75.469886889281156</c:v>
                </c:pt>
                <c:pt idx="2859">
                  <c:v>75.377747388308421</c:v>
                </c:pt>
                <c:pt idx="2860">
                  <c:v>75.376929151973286</c:v>
                </c:pt>
                <c:pt idx="2861">
                  <c:v>75.19525070447321</c:v>
                </c:pt>
                <c:pt idx="2862">
                  <c:v>75.179870649511827</c:v>
                </c:pt>
                <c:pt idx="2863">
                  <c:v>74.800287888076355</c:v>
                </c:pt>
                <c:pt idx="2864">
                  <c:v>74.789536254317682</c:v>
                </c:pt>
                <c:pt idx="2865">
                  <c:v>74.631947503713604</c:v>
                </c:pt>
                <c:pt idx="2866">
                  <c:v>74.462665467474039</c:v>
                </c:pt>
                <c:pt idx="2867">
                  <c:v>74.244250233968046</c:v>
                </c:pt>
                <c:pt idx="2868">
                  <c:v>74.204030610076643</c:v>
                </c:pt>
                <c:pt idx="2869">
                  <c:v>74.071491741558248</c:v>
                </c:pt>
                <c:pt idx="2870">
                  <c:v>73.955309172136594</c:v>
                </c:pt>
                <c:pt idx="2871">
                  <c:v>73.904572091761111</c:v>
                </c:pt>
                <c:pt idx="2872">
                  <c:v>73.862081815907914</c:v>
                </c:pt>
                <c:pt idx="2873">
                  <c:v>73.85376224789934</c:v>
                </c:pt>
                <c:pt idx="2874">
                  <c:v>73.671164181531935</c:v>
                </c:pt>
                <c:pt idx="2875">
                  <c:v>73.178337062041805</c:v>
                </c:pt>
                <c:pt idx="2876">
                  <c:v>72.998741601183497</c:v>
                </c:pt>
                <c:pt idx="2877">
                  <c:v>72.985651369260495</c:v>
                </c:pt>
                <c:pt idx="2878">
                  <c:v>72.951161048584595</c:v>
                </c:pt>
                <c:pt idx="2879">
                  <c:v>72.945992931718934</c:v>
                </c:pt>
                <c:pt idx="2880">
                  <c:v>72.921341025215156</c:v>
                </c:pt>
                <c:pt idx="2881">
                  <c:v>72.90095723681975</c:v>
                </c:pt>
                <c:pt idx="2882">
                  <c:v>72.810384624622543</c:v>
                </c:pt>
                <c:pt idx="2883">
                  <c:v>72.650479940668447</c:v>
                </c:pt>
                <c:pt idx="2884">
                  <c:v>72.646645713146881</c:v>
                </c:pt>
                <c:pt idx="2885">
                  <c:v>72.643322330050978</c:v>
                </c:pt>
                <c:pt idx="2886">
                  <c:v>72.568088210668293</c:v>
                </c:pt>
                <c:pt idx="2887">
                  <c:v>72.502540417889691</c:v>
                </c:pt>
                <c:pt idx="2888">
                  <c:v>72.424178473945062</c:v>
                </c:pt>
                <c:pt idx="2889">
                  <c:v>72.237893214666769</c:v>
                </c:pt>
                <c:pt idx="2890">
                  <c:v>72.207591381583825</c:v>
                </c:pt>
                <c:pt idx="2891">
                  <c:v>72.016874430614394</c:v>
                </c:pt>
                <c:pt idx="2892">
                  <c:v>71.98447875976558</c:v>
                </c:pt>
                <c:pt idx="2893">
                  <c:v>71.892253185782238</c:v>
                </c:pt>
                <c:pt idx="2894">
                  <c:v>71.802465177869408</c:v>
                </c:pt>
                <c:pt idx="2895">
                  <c:v>71.762745325309197</c:v>
                </c:pt>
                <c:pt idx="2896">
                  <c:v>71.6427001953125</c:v>
                </c:pt>
                <c:pt idx="2897">
                  <c:v>71.580551486545232</c:v>
                </c:pt>
                <c:pt idx="2898">
                  <c:v>71.527556838424857</c:v>
                </c:pt>
                <c:pt idx="2899">
                  <c:v>71.443050017180326</c:v>
                </c:pt>
                <c:pt idx="2900">
                  <c:v>71.117728180040558</c:v>
                </c:pt>
                <c:pt idx="2901">
                  <c:v>71.07635567741454</c:v>
                </c:pt>
                <c:pt idx="2902">
                  <c:v>71.066413847605418</c:v>
                </c:pt>
                <c:pt idx="2903">
                  <c:v>70.787328404847244</c:v>
                </c:pt>
                <c:pt idx="2904">
                  <c:v>70.636682298448363</c:v>
                </c:pt>
                <c:pt idx="2905">
                  <c:v>70.611256154378225</c:v>
                </c:pt>
                <c:pt idx="2906">
                  <c:v>70.609959411621048</c:v>
                </c:pt>
                <c:pt idx="2907">
                  <c:v>70.368155823508914</c:v>
                </c:pt>
                <c:pt idx="2908">
                  <c:v>70.300465181668642</c:v>
                </c:pt>
                <c:pt idx="2909">
                  <c:v>70.286466477711997</c:v>
                </c:pt>
                <c:pt idx="2910">
                  <c:v>70.23827227673155</c:v>
                </c:pt>
                <c:pt idx="2911">
                  <c:v>70.05755615234375</c:v>
                </c:pt>
                <c:pt idx="2912">
                  <c:v>69.834278478377996</c:v>
                </c:pt>
                <c:pt idx="2913">
                  <c:v>69.70792533026804</c:v>
                </c:pt>
                <c:pt idx="2914">
                  <c:v>69.575239489360229</c:v>
                </c:pt>
                <c:pt idx="2915">
                  <c:v>69.42515407555311</c:v>
                </c:pt>
                <c:pt idx="2916">
                  <c:v>69.42185444628069</c:v>
                </c:pt>
                <c:pt idx="2917">
                  <c:v>68.986484910424679</c:v>
                </c:pt>
                <c:pt idx="2918">
                  <c:v>68.131936603122313</c:v>
                </c:pt>
                <c:pt idx="2919">
                  <c:v>68.072499751910982</c:v>
                </c:pt>
                <c:pt idx="2920">
                  <c:v>67.950569174024849</c:v>
                </c:pt>
                <c:pt idx="2921">
                  <c:v>67.94061002106173</c:v>
                </c:pt>
                <c:pt idx="2922">
                  <c:v>67.824327630511789</c:v>
                </c:pt>
                <c:pt idx="2923">
                  <c:v>67.770548195828269</c:v>
                </c:pt>
                <c:pt idx="2924">
                  <c:v>67.424280178568893</c:v>
                </c:pt>
                <c:pt idx="2925">
                  <c:v>67.379609103025359</c:v>
                </c:pt>
                <c:pt idx="2926">
                  <c:v>67.331044033191688</c:v>
                </c:pt>
                <c:pt idx="2927">
                  <c:v>67.322077223765405</c:v>
                </c:pt>
                <c:pt idx="2928">
                  <c:v>67.285055424049915</c:v>
                </c:pt>
                <c:pt idx="2929">
                  <c:v>67.120759890596901</c:v>
                </c:pt>
                <c:pt idx="2930">
                  <c:v>66.908750764031652</c:v>
                </c:pt>
                <c:pt idx="2931">
                  <c:v>66.378909131862542</c:v>
                </c:pt>
                <c:pt idx="2932">
                  <c:v>66.239938693576391</c:v>
                </c:pt>
                <c:pt idx="2933">
                  <c:v>66.124469757080078</c:v>
                </c:pt>
                <c:pt idx="2934">
                  <c:v>66.092167391321937</c:v>
                </c:pt>
                <c:pt idx="2935">
                  <c:v>65.995561509034587</c:v>
                </c:pt>
                <c:pt idx="2936">
                  <c:v>65.962233916446621</c:v>
                </c:pt>
                <c:pt idx="2937">
                  <c:v>65.748554196808641</c:v>
                </c:pt>
                <c:pt idx="2938">
                  <c:v>65.576668314644053</c:v>
                </c:pt>
                <c:pt idx="2939">
                  <c:v>65.391619093134068</c:v>
                </c:pt>
                <c:pt idx="2940">
                  <c:v>64.898838431151376</c:v>
                </c:pt>
                <c:pt idx="2941">
                  <c:v>64.755144755045535</c:v>
                </c:pt>
                <c:pt idx="2942">
                  <c:v>64.385834361888783</c:v>
                </c:pt>
                <c:pt idx="2943">
                  <c:v>64.217587535339248</c:v>
                </c:pt>
                <c:pt idx="2944">
                  <c:v>63.249767441639278</c:v>
                </c:pt>
                <c:pt idx="2945">
                  <c:v>62.27490656389125</c:v>
                </c:pt>
                <c:pt idx="2946">
                  <c:v>61.876767080801642</c:v>
                </c:pt>
                <c:pt idx="2947">
                  <c:v>61.136894380099193</c:v>
                </c:pt>
                <c:pt idx="2948">
                  <c:v>58.722806375997948</c:v>
                </c:pt>
                <c:pt idx="2949">
                  <c:v>49.16843768864635</c:v>
                </c:pt>
                <c:pt idx="2950">
                  <c:v>41.194549975306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E4-4444-961C-9A82EAEFB5F6}"/>
            </c:ext>
          </c:extLst>
        </c:ser>
        <c:ser>
          <c:idx val="1"/>
          <c:order val="1"/>
          <c:tx>
            <c:strRef>
              <c:f>'[SUSQ-HARW actual vs simulation winter.xlsx]Compare'!$B$1</c:f>
              <c:strCache>
                <c:ptCount val="1"/>
                <c:pt idx="0">
                  <c:v>DLR Simulated Gai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[SUSQ-HARW actual vs simulation winter.xlsx]Compare'!$B$2:$B$2952</c:f>
              <c:numCache>
                <c:formatCode>0.00</c:formatCode>
                <c:ptCount val="2951"/>
                <c:pt idx="0">
                  <c:v>301.64432540429425</c:v>
                </c:pt>
                <c:pt idx="1">
                  <c:v>298.47133309988703</c:v>
                </c:pt>
                <c:pt idx="2">
                  <c:v>273.09684699027707</c:v>
                </c:pt>
                <c:pt idx="3">
                  <c:v>272.62328007447832</c:v>
                </c:pt>
                <c:pt idx="4">
                  <c:v>270.06224552539811</c:v>
                </c:pt>
                <c:pt idx="5">
                  <c:v>267.50785565316119</c:v>
                </c:pt>
                <c:pt idx="6">
                  <c:v>264.18775962891618</c:v>
                </c:pt>
                <c:pt idx="7">
                  <c:v>262.38346786891452</c:v>
                </c:pt>
                <c:pt idx="8">
                  <c:v>258.01237271964237</c:v>
                </c:pt>
                <c:pt idx="9">
                  <c:v>257.25941206107336</c:v>
                </c:pt>
                <c:pt idx="10">
                  <c:v>256.48059541545013</c:v>
                </c:pt>
                <c:pt idx="11">
                  <c:v>250.17935127624423</c:v>
                </c:pt>
                <c:pt idx="12">
                  <c:v>247.50544989828495</c:v>
                </c:pt>
                <c:pt idx="13">
                  <c:v>246.77128150473141</c:v>
                </c:pt>
                <c:pt idx="14">
                  <c:v>246.50915053500944</c:v>
                </c:pt>
                <c:pt idx="15">
                  <c:v>246.4336996735849</c:v>
                </c:pt>
                <c:pt idx="16">
                  <c:v>246.4336996735849</c:v>
                </c:pt>
                <c:pt idx="17">
                  <c:v>245.70268763025047</c:v>
                </c:pt>
                <c:pt idx="18">
                  <c:v>245.33149983718317</c:v>
                </c:pt>
                <c:pt idx="19">
                  <c:v>243.15207473977557</c:v>
                </c:pt>
                <c:pt idx="20">
                  <c:v>242.69324002709732</c:v>
                </c:pt>
                <c:pt idx="21">
                  <c:v>240.49128385543145</c:v>
                </c:pt>
                <c:pt idx="22">
                  <c:v>238.93962613947133</c:v>
                </c:pt>
                <c:pt idx="23">
                  <c:v>237.89277929387777</c:v>
                </c:pt>
                <c:pt idx="24">
                  <c:v>234.07915959702768</c:v>
                </c:pt>
                <c:pt idx="25">
                  <c:v>233.80158400136133</c:v>
                </c:pt>
                <c:pt idx="26">
                  <c:v>233.47093550219688</c:v>
                </c:pt>
                <c:pt idx="27">
                  <c:v>232.84636264348819</c:v>
                </c:pt>
                <c:pt idx="28">
                  <c:v>230.78409219319906</c:v>
                </c:pt>
                <c:pt idx="29">
                  <c:v>230.1193450407643</c:v>
                </c:pt>
                <c:pt idx="30">
                  <c:v>228.67609091909208</c:v>
                </c:pt>
                <c:pt idx="31">
                  <c:v>228.38991653441576</c:v>
                </c:pt>
                <c:pt idx="32">
                  <c:v>228.28285156949869</c:v>
                </c:pt>
                <c:pt idx="33">
                  <c:v>227.48411633958835</c:v>
                </c:pt>
                <c:pt idx="34">
                  <c:v>226.69899214227439</c:v>
                </c:pt>
                <c:pt idx="35">
                  <c:v>225.96499231129701</c:v>
                </c:pt>
                <c:pt idx="36">
                  <c:v>225.91751968541257</c:v>
                </c:pt>
                <c:pt idx="37">
                  <c:v>225.54819336071637</c:v>
                </c:pt>
                <c:pt idx="38">
                  <c:v>224.91627884858394</c:v>
                </c:pt>
                <c:pt idx="39">
                  <c:v>224.68874976999746</c:v>
                </c:pt>
                <c:pt idx="40">
                  <c:v>224.11542651893546</c:v>
                </c:pt>
                <c:pt idx="41">
                  <c:v>224.03999153001155</c:v>
                </c:pt>
                <c:pt idx="42">
                  <c:v>223.87885258363394</c:v>
                </c:pt>
                <c:pt idx="43">
                  <c:v>223.69825741943146</c:v>
                </c:pt>
                <c:pt idx="44">
                  <c:v>222.91711693897446</c:v>
                </c:pt>
                <c:pt idx="45">
                  <c:v>220.84255306421232</c:v>
                </c:pt>
                <c:pt idx="46">
                  <c:v>220.4912019353892</c:v>
                </c:pt>
                <c:pt idx="47">
                  <c:v>220.29583124680016</c:v>
                </c:pt>
                <c:pt idx="48">
                  <c:v>219.04676744942572</c:v>
                </c:pt>
                <c:pt idx="49">
                  <c:v>218.48975436346518</c:v>
                </c:pt>
                <c:pt idx="50">
                  <c:v>218.24023334837693</c:v>
                </c:pt>
                <c:pt idx="51">
                  <c:v>217.62769356028366</c:v>
                </c:pt>
                <c:pt idx="52">
                  <c:v>217.22094054438048</c:v>
                </c:pt>
                <c:pt idx="53">
                  <c:v>216.07093095694154</c:v>
                </c:pt>
                <c:pt idx="54">
                  <c:v>213.86910002658556</c:v>
                </c:pt>
                <c:pt idx="55">
                  <c:v>213.15568273270469</c:v>
                </c:pt>
                <c:pt idx="56">
                  <c:v>213.13277636077464</c:v>
                </c:pt>
                <c:pt idx="57">
                  <c:v>212.35897753374229</c:v>
                </c:pt>
                <c:pt idx="58">
                  <c:v>212.08290355501913</c:v>
                </c:pt>
                <c:pt idx="59">
                  <c:v>211.93533746871867</c:v>
                </c:pt>
                <c:pt idx="60">
                  <c:v>211.49861993385139</c:v>
                </c:pt>
                <c:pt idx="61">
                  <c:v>208.88032202931936</c:v>
                </c:pt>
                <c:pt idx="62">
                  <c:v>208.50586851722346</c:v>
                </c:pt>
                <c:pt idx="63">
                  <c:v>208.36215018271855</c:v>
                </c:pt>
                <c:pt idx="64">
                  <c:v>207.61417989397364</c:v>
                </c:pt>
                <c:pt idx="65">
                  <c:v>206.48050792040272</c:v>
                </c:pt>
                <c:pt idx="66">
                  <c:v>206.3525284419843</c:v>
                </c:pt>
                <c:pt idx="67">
                  <c:v>206.14350854828035</c:v>
                </c:pt>
                <c:pt idx="68">
                  <c:v>205.71812153244241</c:v>
                </c:pt>
                <c:pt idx="69">
                  <c:v>205.13251515440288</c:v>
                </c:pt>
                <c:pt idx="70">
                  <c:v>204.82311314514436</c:v>
                </c:pt>
                <c:pt idx="71">
                  <c:v>203.57521383956123</c:v>
                </c:pt>
                <c:pt idx="72">
                  <c:v>203.57521383956123</c:v>
                </c:pt>
                <c:pt idx="73">
                  <c:v>203.25697885743079</c:v>
                </c:pt>
                <c:pt idx="74">
                  <c:v>203.17563948951056</c:v>
                </c:pt>
                <c:pt idx="75">
                  <c:v>199.90899166643567</c:v>
                </c:pt>
                <c:pt idx="76">
                  <c:v>199.72175697413786</c:v>
                </c:pt>
                <c:pt idx="77">
                  <c:v>199.36788599913802</c:v>
                </c:pt>
                <c:pt idx="78">
                  <c:v>198.61212841552106</c:v>
                </c:pt>
                <c:pt idx="79">
                  <c:v>197.73172699003339</c:v>
                </c:pt>
                <c:pt idx="80">
                  <c:v>197.40008256165447</c:v>
                </c:pt>
                <c:pt idx="81">
                  <c:v>197.34298262003176</c:v>
                </c:pt>
                <c:pt idx="82">
                  <c:v>195.30730330589586</c:v>
                </c:pt>
                <c:pt idx="83">
                  <c:v>193.43632246105199</c:v>
                </c:pt>
                <c:pt idx="84">
                  <c:v>192.98081266116924</c:v>
                </c:pt>
                <c:pt idx="85">
                  <c:v>192.98081266116924</c:v>
                </c:pt>
                <c:pt idx="86">
                  <c:v>191.94301624729565</c:v>
                </c:pt>
                <c:pt idx="87">
                  <c:v>191.55684061974125</c:v>
                </c:pt>
                <c:pt idx="88">
                  <c:v>191.08589134266231</c:v>
                </c:pt>
                <c:pt idx="89">
                  <c:v>190.92305434174136</c:v>
                </c:pt>
                <c:pt idx="90">
                  <c:v>190.92305434174136</c:v>
                </c:pt>
                <c:pt idx="91">
                  <c:v>190.69847487827906</c:v>
                </c:pt>
                <c:pt idx="92">
                  <c:v>190.68203947186862</c:v>
                </c:pt>
                <c:pt idx="93">
                  <c:v>190.06435662387503</c:v>
                </c:pt>
                <c:pt idx="94">
                  <c:v>190.02507403930099</c:v>
                </c:pt>
                <c:pt idx="95">
                  <c:v>188.89090152674908</c:v>
                </c:pt>
                <c:pt idx="96">
                  <c:v>188.56440530701798</c:v>
                </c:pt>
                <c:pt idx="97">
                  <c:v>188.47174056881613</c:v>
                </c:pt>
                <c:pt idx="98">
                  <c:v>188.0219558616011</c:v>
                </c:pt>
                <c:pt idx="99">
                  <c:v>186.87028639213804</c:v>
                </c:pt>
                <c:pt idx="100">
                  <c:v>186.58628315221949</c:v>
                </c:pt>
                <c:pt idx="101">
                  <c:v>186.22579494914294</c:v>
                </c:pt>
                <c:pt idx="102">
                  <c:v>185.95004779807687</c:v>
                </c:pt>
                <c:pt idx="103">
                  <c:v>185.74492970118717</c:v>
                </c:pt>
                <c:pt idx="104">
                  <c:v>185.51030430304741</c:v>
                </c:pt>
                <c:pt idx="105">
                  <c:v>185.47868462455017</c:v>
                </c:pt>
                <c:pt idx="106">
                  <c:v>185.13239506184163</c:v>
                </c:pt>
                <c:pt idx="107">
                  <c:v>183.20348175998902</c:v>
                </c:pt>
                <c:pt idx="108">
                  <c:v>183.20348175998902</c:v>
                </c:pt>
                <c:pt idx="109">
                  <c:v>183.00837185151431</c:v>
                </c:pt>
                <c:pt idx="110">
                  <c:v>182.60505869222061</c:v>
                </c:pt>
                <c:pt idx="111">
                  <c:v>182.55463645121267</c:v>
                </c:pt>
                <c:pt idx="112">
                  <c:v>182.29329467560956</c:v>
                </c:pt>
                <c:pt idx="113">
                  <c:v>181.9902332418128</c:v>
                </c:pt>
                <c:pt idx="114">
                  <c:v>181.80299854951454</c:v>
                </c:pt>
                <c:pt idx="115">
                  <c:v>181.41774250613685</c:v>
                </c:pt>
                <c:pt idx="116">
                  <c:v>180.62797063915536</c:v>
                </c:pt>
                <c:pt idx="117">
                  <c:v>180.44766413009074</c:v>
                </c:pt>
                <c:pt idx="118">
                  <c:v>179.97231723970685</c:v>
                </c:pt>
                <c:pt idx="119">
                  <c:v>179.95492922534891</c:v>
                </c:pt>
                <c:pt idx="120">
                  <c:v>179.95418892750104</c:v>
                </c:pt>
                <c:pt idx="121">
                  <c:v>179.50837763964705</c:v>
                </c:pt>
                <c:pt idx="122">
                  <c:v>179.50128089383747</c:v>
                </c:pt>
                <c:pt idx="123">
                  <c:v>179.50128089383747</c:v>
                </c:pt>
                <c:pt idx="124">
                  <c:v>179.44849664547678</c:v>
                </c:pt>
                <c:pt idx="125">
                  <c:v>177.37842217530101</c:v>
                </c:pt>
                <c:pt idx="126">
                  <c:v>176.58217419405264</c:v>
                </c:pt>
                <c:pt idx="127">
                  <c:v>176.4447359624719</c:v>
                </c:pt>
                <c:pt idx="128">
                  <c:v>175.58840025195718</c:v>
                </c:pt>
                <c:pt idx="129">
                  <c:v>175.50504115058538</c:v>
                </c:pt>
                <c:pt idx="130">
                  <c:v>175.16284982229126</c:v>
                </c:pt>
                <c:pt idx="131">
                  <c:v>175.09927376640121</c:v>
                </c:pt>
                <c:pt idx="132">
                  <c:v>174.79116149024253</c:v>
                </c:pt>
                <c:pt idx="133">
                  <c:v>174.36278668676141</c:v>
                </c:pt>
                <c:pt idx="134">
                  <c:v>174.34150202433648</c:v>
                </c:pt>
                <c:pt idx="135">
                  <c:v>174.30747186847225</c:v>
                </c:pt>
                <c:pt idx="136">
                  <c:v>174.22596908672404</c:v>
                </c:pt>
                <c:pt idx="137">
                  <c:v>174.20339983994643</c:v>
                </c:pt>
                <c:pt idx="138">
                  <c:v>173.96408302461623</c:v>
                </c:pt>
                <c:pt idx="139">
                  <c:v>173.92806101032284</c:v>
                </c:pt>
                <c:pt idx="140">
                  <c:v>173.7282112146429</c:v>
                </c:pt>
                <c:pt idx="141">
                  <c:v>172.87635975996704</c:v>
                </c:pt>
                <c:pt idx="142">
                  <c:v>172.82955108689271</c:v>
                </c:pt>
                <c:pt idx="143">
                  <c:v>172.369855983805</c:v>
                </c:pt>
                <c:pt idx="144">
                  <c:v>171.92653709336128</c:v>
                </c:pt>
                <c:pt idx="145">
                  <c:v>171.55206770876475</c:v>
                </c:pt>
                <c:pt idx="146">
                  <c:v>171.13993230035146</c:v>
                </c:pt>
                <c:pt idx="147">
                  <c:v>171.02289731953897</c:v>
                </c:pt>
                <c:pt idx="148">
                  <c:v>170.57688444533778</c:v>
                </c:pt>
                <c:pt idx="149">
                  <c:v>170.42430568919463</c:v>
                </c:pt>
                <c:pt idx="150">
                  <c:v>170.39350822858728</c:v>
                </c:pt>
                <c:pt idx="151">
                  <c:v>170.39350822858728</c:v>
                </c:pt>
                <c:pt idx="152">
                  <c:v>169.89479817481583</c:v>
                </c:pt>
                <c:pt idx="153">
                  <c:v>169.09805480333421</c:v>
                </c:pt>
                <c:pt idx="154">
                  <c:v>169.09805480333421</c:v>
                </c:pt>
                <c:pt idx="155">
                  <c:v>168.43364477605201</c:v>
                </c:pt>
                <c:pt idx="156">
                  <c:v>167.9197122776751</c:v>
                </c:pt>
                <c:pt idx="157">
                  <c:v>167.73404524986267</c:v>
                </c:pt>
                <c:pt idx="158">
                  <c:v>167.30139850064279</c:v>
                </c:pt>
                <c:pt idx="159">
                  <c:v>167.30139850064279</c:v>
                </c:pt>
                <c:pt idx="160">
                  <c:v>167.26521822126983</c:v>
                </c:pt>
                <c:pt idx="161">
                  <c:v>166.74372146187284</c:v>
                </c:pt>
                <c:pt idx="162">
                  <c:v>166.72861396108146</c:v>
                </c:pt>
                <c:pt idx="163">
                  <c:v>166.53537066972558</c:v>
                </c:pt>
                <c:pt idx="164">
                  <c:v>165.02756686296789</c:v>
                </c:pt>
                <c:pt idx="165">
                  <c:v>164.53756968950688</c:v>
                </c:pt>
                <c:pt idx="166">
                  <c:v>164.49379212534177</c:v>
                </c:pt>
                <c:pt idx="167">
                  <c:v>164.31199429682943</c:v>
                </c:pt>
                <c:pt idx="168">
                  <c:v>164.21091005594678</c:v>
                </c:pt>
                <c:pt idx="169">
                  <c:v>164.0520567718836</c:v>
                </c:pt>
                <c:pt idx="170">
                  <c:v>163.06048142331292</c:v>
                </c:pt>
                <c:pt idx="171">
                  <c:v>162.7943667367332</c:v>
                </c:pt>
                <c:pt idx="172">
                  <c:v>162.76220319798824</c:v>
                </c:pt>
                <c:pt idx="173">
                  <c:v>162.0079094850521</c:v>
                </c:pt>
                <c:pt idx="174">
                  <c:v>161.50318010847081</c:v>
                </c:pt>
                <c:pt idx="175">
                  <c:v>161.45985976202064</c:v>
                </c:pt>
                <c:pt idx="176">
                  <c:v>161.45728587082499</c:v>
                </c:pt>
                <c:pt idx="177">
                  <c:v>160.27072028008433</c:v>
                </c:pt>
                <c:pt idx="178">
                  <c:v>160.05722127928925</c:v>
                </c:pt>
                <c:pt idx="179">
                  <c:v>159.89587559781626</c:v>
                </c:pt>
                <c:pt idx="180">
                  <c:v>159.60838918002094</c:v>
                </c:pt>
                <c:pt idx="181">
                  <c:v>159.60485753212993</c:v>
                </c:pt>
                <c:pt idx="182">
                  <c:v>159.41450981087928</c:v>
                </c:pt>
                <c:pt idx="183">
                  <c:v>159.29915058459073</c:v>
                </c:pt>
                <c:pt idx="184">
                  <c:v>159.1548712385669</c:v>
                </c:pt>
                <c:pt idx="185">
                  <c:v>159.08386131171414</c:v>
                </c:pt>
                <c:pt idx="186">
                  <c:v>159.00107394561405</c:v>
                </c:pt>
                <c:pt idx="187">
                  <c:v>158.51157731113358</c:v>
                </c:pt>
                <c:pt idx="188">
                  <c:v>158.34405446802702</c:v>
                </c:pt>
                <c:pt idx="189">
                  <c:v>157.67242802863018</c:v>
                </c:pt>
                <c:pt idx="190">
                  <c:v>157.19557952130299</c:v>
                </c:pt>
                <c:pt idx="191">
                  <c:v>156.97220272214997</c:v>
                </c:pt>
                <c:pt idx="192">
                  <c:v>156.6957916182746</c:v>
                </c:pt>
                <c:pt idx="193">
                  <c:v>156.39124401377774</c:v>
                </c:pt>
                <c:pt idx="194">
                  <c:v>156.3736492643244</c:v>
                </c:pt>
                <c:pt idx="195">
                  <c:v>156.35539056206119</c:v>
                </c:pt>
                <c:pt idx="196">
                  <c:v>156.177745012983</c:v>
                </c:pt>
                <c:pt idx="197">
                  <c:v>156.1505611203097</c:v>
                </c:pt>
                <c:pt idx="198">
                  <c:v>155.76144145263561</c:v>
                </c:pt>
                <c:pt idx="199">
                  <c:v>155.76144145263561</c:v>
                </c:pt>
                <c:pt idx="200">
                  <c:v>154.3711242694003</c:v>
                </c:pt>
                <c:pt idx="201">
                  <c:v>154.29630433701459</c:v>
                </c:pt>
                <c:pt idx="202">
                  <c:v>154.14318172062303</c:v>
                </c:pt>
                <c:pt idx="203">
                  <c:v>154.07500646508072</c:v>
                </c:pt>
                <c:pt idx="204">
                  <c:v>154.02338155976304</c:v>
                </c:pt>
                <c:pt idx="205">
                  <c:v>153.97574552005051</c:v>
                </c:pt>
                <c:pt idx="206">
                  <c:v>153.47130479860709</c:v>
                </c:pt>
                <c:pt idx="207">
                  <c:v>152.89565771271145</c:v>
                </c:pt>
                <c:pt idx="208">
                  <c:v>152.52666336442007</c:v>
                </c:pt>
                <c:pt idx="209">
                  <c:v>152.19967175445584</c:v>
                </c:pt>
                <c:pt idx="210">
                  <c:v>152.0039257681949</c:v>
                </c:pt>
                <c:pt idx="211">
                  <c:v>151.667051211125</c:v>
                </c:pt>
                <c:pt idx="212">
                  <c:v>151.21880671962811</c:v>
                </c:pt>
                <c:pt idx="213">
                  <c:v>150.73532383295344</c:v>
                </c:pt>
                <c:pt idx="214">
                  <c:v>150.46795243704469</c:v>
                </c:pt>
                <c:pt idx="215">
                  <c:v>150.44716316485324</c:v>
                </c:pt>
                <c:pt idx="216">
                  <c:v>150.37856929037207</c:v>
                </c:pt>
                <c:pt idx="217">
                  <c:v>150.16631627515335</c:v>
                </c:pt>
                <c:pt idx="218">
                  <c:v>149.67168215577783</c:v>
                </c:pt>
                <c:pt idx="219">
                  <c:v>149.5692923092945</c:v>
                </c:pt>
                <c:pt idx="220">
                  <c:v>149.39944563135487</c:v>
                </c:pt>
                <c:pt idx="221">
                  <c:v>149.07241584887095</c:v>
                </c:pt>
                <c:pt idx="222">
                  <c:v>148.63768502368475</c:v>
                </c:pt>
                <c:pt idx="223">
                  <c:v>148.63361938678463</c:v>
                </c:pt>
                <c:pt idx="224">
                  <c:v>148.53083194261126</c:v>
                </c:pt>
                <c:pt idx="225">
                  <c:v>148.53083194261126</c:v>
                </c:pt>
                <c:pt idx="226">
                  <c:v>148.32695510880694</c:v>
                </c:pt>
                <c:pt idx="227">
                  <c:v>148.24035258842503</c:v>
                </c:pt>
                <c:pt idx="228">
                  <c:v>148.14022610423751</c:v>
                </c:pt>
                <c:pt idx="229">
                  <c:v>147.67536692000158</c:v>
                </c:pt>
                <c:pt idx="230">
                  <c:v>147.47136999363579</c:v>
                </c:pt>
                <c:pt idx="231">
                  <c:v>147.1566130406336</c:v>
                </c:pt>
                <c:pt idx="232">
                  <c:v>147.0371015349117</c:v>
                </c:pt>
                <c:pt idx="233">
                  <c:v>146.97423275309734</c:v>
                </c:pt>
                <c:pt idx="234">
                  <c:v>146.88572029432999</c:v>
                </c:pt>
                <c:pt idx="235">
                  <c:v>146.88190514004896</c:v>
                </c:pt>
                <c:pt idx="236">
                  <c:v>146.55503877139381</c:v>
                </c:pt>
                <c:pt idx="237">
                  <c:v>146.11142607706392</c:v>
                </c:pt>
                <c:pt idx="238">
                  <c:v>145.70936447835152</c:v>
                </c:pt>
                <c:pt idx="239">
                  <c:v>145.59897974938713</c:v>
                </c:pt>
                <c:pt idx="240">
                  <c:v>144.91515167679859</c:v>
                </c:pt>
                <c:pt idx="241">
                  <c:v>144.35917311882827</c:v>
                </c:pt>
                <c:pt idx="242">
                  <c:v>144.18994664617412</c:v>
                </c:pt>
                <c:pt idx="243">
                  <c:v>144.18994664617412</c:v>
                </c:pt>
                <c:pt idx="244">
                  <c:v>143.95768840413484</c:v>
                </c:pt>
                <c:pt idx="245">
                  <c:v>143.64210408449458</c:v>
                </c:pt>
                <c:pt idx="246">
                  <c:v>143.62687649114116</c:v>
                </c:pt>
                <c:pt idx="247">
                  <c:v>143.62305618811251</c:v>
                </c:pt>
                <c:pt idx="248">
                  <c:v>143.3840331766678</c:v>
                </c:pt>
                <c:pt idx="249">
                  <c:v>142.98599861607954</c:v>
                </c:pt>
                <c:pt idx="250">
                  <c:v>142.73585182070099</c:v>
                </c:pt>
                <c:pt idx="251">
                  <c:v>141.91889606104633</c:v>
                </c:pt>
                <c:pt idx="252">
                  <c:v>141.85226102122306</c:v>
                </c:pt>
                <c:pt idx="253">
                  <c:v>141.82328685646894</c:v>
                </c:pt>
                <c:pt idx="254">
                  <c:v>141.42786478585197</c:v>
                </c:pt>
                <c:pt idx="255">
                  <c:v>141.42786478585197</c:v>
                </c:pt>
                <c:pt idx="256">
                  <c:v>141.36827244681922</c:v>
                </c:pt>
                <c:pt idx="257">
                  <c:v>140.94666756149138</c:v>
                </c:pt>
                <c:pt idx="258">
                  <c:v>140.89090624924029</c:v>
                </c:pt>
                <c:pt idx="259">
                  <c:v>140.88711339497752</c:v>
                </c:pt>
                <c:pt idx="260">
                  <c:v>140.77637438958959</c:v>
                </c:pt>
                <c:pt idx="261">
                  <c:v>140.61323286103072</c:v>
                </c:pt>
                <c:pt idx="262">
                  <c:v>140.54435033141192</c:v>
                </c:pt>
                <c:pt idx="263">
                  <c:v>140.48924224821781</c:v>
                </c:pt>
                <c:pt idx="264">
                  <c:v>139.60348587898739</c:v>
                </c:pt>
                <c:pt idx="265">
                  <c:v>139.46007207212051</c:v>
                </c:pt>
                <c:pt idx="266">
                  <c:v>139.44015863658137</c:v>
                </c:pt>
                <c:pt idx="267">
                  <c:v>139.25740305137379</c:v>
                </c:pt>
                <c:pt idx="268">
                  <c:v>139.14519502655673</c:v>
                </c:pt>
                <c:pt idx="269">
                  <c:v>139.11531715012609</c:v>
                </c:pt>
                <c:pt idx="270">
                  <c:v>138.72528304702394</c:v>
                </c:pt>
                <c:pt idx="271">
                  <c:v>137.96617825059229</c:v>
                </c:pt>
                <c:pt idx="272">
                  <c:v>137.7842603295187</c:v>
                </c:pt>
                <c:pt idx="273">
                  <c:v>137.2840919800708</c:v>
                </c:pt>
                <c:pt idx="274">
                  <c:v>137.2840919800708</c:v>
                </c:pt>
                <c:pt idx="275">
                  <c:v>136.83567335099303</c:v>
                </c:pt>
                <c:pt idx="276">
                  <c:v>136.45307311885358</c:v>
                </c:pt>
                <c:pt idx="277">
                  <c:v>136.44805015151496</c:v>
                </c:pt>
                <c:pt idx="278">
                  <c:v>135.73131309358655</c:v>
                </c:pt>
                <c:pt idx="279">
                  <c:v>135.58561877315299</c:v>
                </c:pt>
                <c:pt idx="280">
                  <c:v>135.44668407337701</c:v>
                </c:pt>
                <c:pt idx="281">
                  <c:v>134.24767751683521</c:v>
                </c:pt>
                <c:pt idx="282">
                  <c:v>134.17903474608306</c:v>
                </c:pt>
                <c:pt idx="283">
                  <c:v>134.03113668337789</c:v>
                </c:pt>
                <c:pt idx="284">
                  <c:v>133.65965508642432</c:v>
                </c:pt>
                <c:pt idx="285">
                  <c:v>133.52035023772464</c:v>
                </c:pt>
                <c:pt idx="286">
                  <c:v>133.42474103314657</c:v>
                </c:pt>
                <c:pt idx="287">
                  <c:v>133.39287129828767</c:v>
                </c:pt>
                <c:pt idx="288">
                  <c:v>133.32601879961646</c:v>
                </c:pt>
                <c:pt idx="289">
                  <c:v>133.11401111826899</c:v>
                </c:pt>
                <c:pt idx="290">
                  <c:v>133.04168358329275</c:v>
                </c:pt>
                <c:pt idx="291">
                  <c:v>132.58600522083361</c:v>
                </c:pt>
                <c:pt idx="292">
                  <c:v>132.4646652705112</c:v>
                </c:pt>
                <c:pt idx="293">
                  <c:v>131.41530372748934</c:v>
                </c:pt>
                <c:pt idx="294">
                  <c:v>130.99853222567572</c:v>
                </c:pt>
                <c:pt idx="295">
                  <c:v>130.91549995196033</c:v>
                </c:pt>
                <c:pt idx="296">
                  <c:v>130.64809038353337</c:v>
                </c:pt>
                <c:pt idx="297">
                  <c:v>129.66498300765818</c:v>
                </c:pt>
                <c:pt idx="298">
                  <c:v>129.51758548393377</c:v>
                </c:pt>
                <c:pt idx="299">
                  <c:v>129.31085640129197</c:v>
                </c:pt>
                <c:pt idx="300">
                  <c:v>129.20503227320364</c:v>
                </c:pt>
                <c:pt idx="301">
                  <c:v>128.45804718992065</c:v>
                </c:pt>
                <c:pt idx="302">
                  <c:v>128.11531715012609</c:v>
                </c:pt>
                <c:pt idx="303">
                  <c:v>127.88426157239667</c:v>
                </c:pt>
                <c:pt idx="304">
                  <c:v>127.45402015179639</c:v>
                </c:pt>
                <c:pt idx="305">
                  <c:v>127.11237825875469</c:v>
                </c:pt>
                <c:pt idx="306">
                  <c:v>127.07839142415753</c:v>
                </c:pt>
                <c:pt idx="307">
                  <c:v>126.37140692327682</c:v>
                </c:pt>
                <c:pt idx="308">
                  <c:v>125.85352373181343</c:v>
                </c:pt>
                <c:pt idx="309">
                  <c:v>125.80124002243394</c:v>
                </c:pt>
                <c:pt idx="310">
                  <c:v>125.53798273344023</c:v>
                </c:pt>
                <c:pt idx="311">
                  <c:v>125.26210519231711</c:v>
                </c:pt>
                <c:pt idx="312">
                  <c:v>125.01346001388129</c:v>
                </c:pt>
                <c:pt idx="313">
                  <c:v>124.0627666593706</c:v>
                </c:pt>
                <c:pt idx="314">
                  <c:v>124.05902270137949</c:v>
                </c:pt>
                <c:pt idx="315">
                  <c:v>124.00989534221924</c:v>
                </c:pt>
                <c:pt idx="316">
                  <c:v>123.65052830966658</c:v>
                </c:pt>
                <c:pt idx="317">
                  <c:v>123.42889846132823</c:v>
                </c:pt>
                <c:pt idx="318">
                  <c:v>123.34697663438476</c:v>
                </c:pt>
                <c:pt idx="319">
                  <c:v>123.18841715420729</c:v>
                </c:pt>
                <c:pt idx="320">
                  <c:v>123.00367485931906</c:v>
                </c:pt>
                <c:pt idx="321">
                  <c:v>121.88587213189203</c:v>
                </c:pt>
                <c:pt idx="322">
                  <c:v>121.79050268618096</c:v>
                </c:pt>
                <c:pt idx="323">
                  <c:v>121.75332132884523</c:v>
                </c:pt>
                <c:pt idx="324">
                  <c:v>121.56472055840891</c:v>
                </c:pt>
                <c:pt idx="325">
                  <c:v>121.56036154387948</c:v>
                </c:pt>
                <c:pt idx="326">
                  <c:v>121.25863831319782</c:v>
                </c:pt>
                <c:pt idx="327">
                  <c:v>120.57762946567607</c:v>
                </c:pt>
                <c:pt idx="328">
                  <c:v>120.01737853571024</c:v>
                </c:pt>
                <c:pt idx="329">
                  <c:v>119.126560600365</c:v>
                </c:pt>
                <c:pt idx="330">
                  <c:v>118.88849534561598</c:v>
                </c:pt>
                <c:pt idx="331">
                  <c:v>118.79574353862404</c:v>
                </c:pt>
                <c:pt idx="332">
                  <c:v>118.78156077075687</c:v>
                </c:pt>
                <c:pt idx="333">
                  <c:v>118.43438979639052</c:v>
                </c:pt>
                <c:pt idx="334">
                  <c:v>118.09556712841538</c:v>
                </c:pt>
                <c:pt idx="335">
                  <c:v>117.55361307323153</c:v>
                </c:pt>
                <c:pt idx="336">
                  <c:v>117.35044351350382</c:v>
                </c:pt>
                <c:pt idx="337">
                  <c:v>116.63819071141359</c:v>
                </c:pt>
                <c:pt idx="338">
                  <c:v>116.40647118087475</c:v>
                </c:pt>
                <c:pt idx="339">
                  <c:v>115.93261560993813</c:v>
                </c:pt>
                <c:pt idx="340">
                  <c:v>115.88165465742975</c:v>
                </c:pt>
                <c:pt idx="341">
                  <c:v>115.62570084934134</c:v>
                </c:pt>
                <c:pt idx="342">
                  <c:v>114.98166662406027</c:v>
                </c:pt>
                <c:pt idx="343">
                  <c:v>114.71824592123824</c:v>
                </c:pt>
                <c:pt idx="344">
                  <c:v>114.4735793109121</c:v>
                </c:pt>
                <c:pt idx="345">
                  <c:v>114.35867215358996</c:v>
                </c:pt>
                <c:pt idx="346">
                  <c:v>113.89042200901599</c:v>
                </c:pt>
                <c:pt idx="347">
                  <c:v>113.63849009030434</c:v>
                </c:pt>
                <c:pt idx="348">
                  <c:v>113.61554554585496</c:v>
                </c:pt>
                <c:pt idx="349">
                  <c:v>113.2483032971262</c:v>
                </c:pt>
                <c:pt idx="350">
                  <c:v>113.19895333037027</c:v>
                </c:pt>
                <c:pt idx="351">
                  <c:v>112.87474277295325</c:v>
                </c:pt>
                <c:pt idx="352">
                  <c:v>112.53201273315869</c:v>
                </c:pt>
                <c:pt idx="353">
                  <c:v>112.33909626946036</c:v>
                </c:pt>
                <c:pt idx="354">
                  <c:v>112.12285438863671</c:v>
                </c:pt>
                <c:pt idx="355">
                  <c:v>111.85689796713757</c:v>
                </c:pt>
                <c:pt idx="356">
                  <c:v>111.52226575111513</c:v>
                </c:pt>
                <c:pt idx="357">
                  <c:v>111.40586727434561</c:v>
                </c:pt>
                <c:pt idx="358">
                  <c:v>111.02480168292061</c:v>
                </c:pt>
                <c:pt idx="359">
                  <c:v>110.90333649128843</c:v>
                </c:pt>
                <c:pt idx="360">
                  <c:v>110.88507778902522</c:v>
                </c:pt>
                <c:pt idx="361">
                  <c:v>110.8588134805284</c:v>
                </c:pt>
                <c:pt idx="362">
                  <c:v>110.82598598897391</c:v>
                </c:pt>
                <c:pt idx="363">
                  <c:v>110.82532203616404</c:v>
                </c:pt>
                <c:pt idx="364">
                  <c:v>110.79258676214783</c:v>
                </c:pt>
                <c:pt idx="365">
                  <c:v>110.67224274103978</c:v>
                </c:pt>
                <c:pt idx="366">
                  <c:v>110.59094669438673</c:v>
                </c:pt>
                <c:pt idx="367">
                  <c:v>110.58210857276674</c:v>
                </c:pt>
                <c:pt idx="368">
                  <c:v>110.49015625738957</c:v>
                </c:pt>
                <c:pt idx="369">
                  <c:v>110.44753288751997</c:v>
                </c:pt>
                <c:pt idx="370">
                  <c:v>110.21577518446156</c:v>
                </c:pt>
                <c:pt idx="371">
                  <c:v>110.12883553892743</c:v>
                </c:pt>
                <c:pt idx="372">
                  <c:v>110.06741990404248</c:v>
                </c:pt>
                <c:pt idx="373">
                  <c:v>110.06161289133217</c:v>
                </c:pt>
                <c:pt idx="374">
                  <c:v>109.79914479645777</c:v>
                </c:pt>
                <c:pt idx="375">
                  <c:v>109.73756059899642</c:v>
                </c:pt>
                <c:pt idx="376">
                  <c:v>109.58020893187654</c:v>
                </c:pt>
                <c:pt idx="377">
                  <c:v>109.52174291211577</c:v>
                </c:pt>
                <c:pt idx="378">
                  <c:v>109.5061781936098</c:v>
                </c:pt>
                <c:pt idx="379">
                  <c:v>109.40363565705059</c:v>
                </c:pt>
                <c:pt idx="380">
                  <c:v>109.26184355968849</c:v>
                </c:pt>
                <c:pt idx="381">
                  <c:v>109.23083936398632</c:v>
                </c:pt>
                <c:pt idx="382">
                  <c:v>109.00704909464298</c:v>
                </c:pt>
                <c:pt idx="383">
                  <c:v>109.00144366828033</c:v>
                </c:pt>
                <c:pt idx="384">
                  <c:v>108.95363906599175</c:v>
                </c:pt>
                <c:pt idx="385">
                  <c:v>108.58328378831004</c:v>
                </c:pt>
                <c:pt idx="386">
                  <c:v>108.37027502900014</c:v>
                </c:pt>
                <c:pt idx="387">
                  <c:v>108.23022430744822</c:v>
                </c:pt>
                <c:pt idx="388">
                  <c:v>108.19586217517951</c:v>
                </c:pt>
                <c:pt idx="389">
                  <c:v>108.14909682337168</c:v>
                </c:pt>
                <c:pt idx="390">
                  <c:v>107.74553875646382</c:v>
                </c:pt>
                <c:pt idx="391">
                  <c:v>107.53058145999194</c:v>
                </c:pt>
                <c:pt idx="392">
                  <c:v>107.46285827341615</c:v>
                </c:pt>
                <c:pt idx="393">
                  <c:v>107.42613413379445</c:v>
                </c:pt>
                <c:pt idx="394">
                  <c:v>107.40410359851728</c:v>
                </c:pt>
                <c:pt idx="395">
                  <c:v>107.322769379345</c:v>
                </c:pt>
                <c:pt idx="396">
                  <c:v>106.98070329236009</c:v>
                </c:pt>
                <c:pt idx="397">
                  <c:v>106.07167040227591</c:v>
                </c:pt>
                <c:pt idx="398">
                  <c:v>105.90037057740733</c:v>
                </c:pt>
                <c:pt idx="399">
                  <c:v>105.90037057740733</c:v>
                </c:pt>
                <c:pt idx="400">
                  <c:v>105.64558640985717</c:v>
                </c:pt>
                <c:pt idx="401">
                  <c:v>105.56959683693299</c:v>
                </c:pt>
                <c:pt idx="402">
                  <c:v>105.38734179070661</c:v>
                </c:pt>
                <c:pt idx="403">
                  <c:v>105.38120280159171</c:v>
                </c:pt>
                <c:pt idx="404">
                  <c:v>105.35858508479964</c:v>
                </c:pt>
                <c:pt idx="405">
                  <c:v>105.1964986792226</c:v>
                </c:pt>
                <c:pt idx="406">
                  <c:v>104.99511424282775</c:v>
                </c:pt>
                <c:pt idx="407">
                  <c:v>104.62558118303662</c:v>
                </c:pt>
                <c:pt idx="408">
                  <c:v>104.52167771708707</c:v>
                </c:pt>
                <c:pt idx="409">
                  <c:v>104.310910872568</c:v>
                </c:pt>
                <c:pt idx="410">
                  <c:v>104.04881292661742</c:v>
                </c:pt>
                <c:pt idx="411">
                  <c:v>103.99391157851824</c:v>
                </c:pt>
                <c:pt idx="412">
                  <c:v>103.26887511046993</c:v>
                </c:pt>
                <c:pt idx="413">
                  <c:v>103.10670721110682</c:v>
                </c:pt>
                <c:pt idx="414">
                  <c:v>103.07177334356663</c:v>
                </c:pt>
                <c:pt idx="415">
                  <c:v>103.02736485036348</c:v>
                </c:pt>
                <c:pt idx="416">
                  <c:v>103.00777824248132</c:v>
                </c:pt>
                <c:pt idx="417">
                  <c:v>102.83349062996967</c:v>
                </c:pt>
                <c:pt idx="418">
                  <c:v>102.65538271442881</c:v>
                </c:pt>
                <c:pt idx="419">
                  <c:v>102.58990186890094</c:v>
                </c:pt>
                <c:pt idx="420">
                  <c:v>102.39955414765041</c:v>
                </c:pt>
                <c:pt idx="421">
                  <c:v>102.34830454000394</c:v>
                </c:pt>
                <c:pt idx="422">
                  <c:v>102.05210009315101</c:v>
                </c:pt>
                <c:pt idx="423">
                  <c:v>102.03425486107824</c:v>
                </c:pt>
                <c:pt idx="424">
                  <c:v>102.02546006072509</c:v>
                </c:pt>
                <c:pt idx="425">
                  <c:v>101.9849207668226</c:v>
                </c:pt>
                <c:pt idx="426">
                  <c:v>101.73912783722506</c:v>
                </c:pt>
                <c:pt idx="427">
                  <c:v>101.65858281217231</c:v>
                </c:pt>
                <c:pt idx="428">
                  <c:v>101.31996687929222</c:v>
                </c:pt>
                <c:pt idx="429">
                  <c:v>101.22934246953389</c:v>
                </c:pt>
                <c:pt idx="430">
                  <c:v>101.04421972822604</c:v>
                </c:pt>
                <c:pt idx="431">
                  <c:v>100.99118499724682</c:v>
                </c:pt>
                <c:pt idx="432">
                  <c:v>100.82416269312137</c:v>
                </c:pt>
                <c:pt idx="433">
                  <c:v>100.58210857276674</c:v>
                </c:pt>
                <c:pt idx="434">
                  <c:v>100.51791703408207</c:v>
                </c:pt>
                <c:pt idx="435">
                  <c:v>100.38831584615912</c:v>
                </c:pt>
                <c:pt idx="436">
                  <c:v>100.3264048210408</c:v>
                </c:pt>
                <c:pt idx="437">
                  <c:v>99.326617131140551</c:v>
                </c:pt>
                <c:pt idx="438">
                  <c:v>99.285952595928393</c:v>
                </c:pt>
                <c:pt idx="439">
                  <c:v>98.997459951423139</c:v>
                </c:pt>
                <c:pt idx="440">
                  <c:v>98.860690821399999</c:v>
                </c:pt>
                <c:pt idx="441">
                  <c:v>98.846122032108497</c:v>
                </c:pt>
                <c:pt idx="442">
                  <c:v>98.769190574989011</c:v>
                </c:pt>
                <c:pt idx="443">
                  <c:v>98.703372178051495</c:v>
                </c:pt>
                <c:pt idx="444">
                  <c:v>98.3856707586732</c:v>
                </c:pt>
                <c:pt idx="445">
                  <c:v>98.080334386314348</c:v>
                </c:pt>
                <c:pt idx="446">
                  <c:v>97.84388526606574</c:v>
                </c:pt>
                <c:pt idx="447">
                  <c:v>97.682212756935542</c:v>
                </c:pt>
                <c:pt idx="448">
                  <c:v>97.556225136946296</c:v>
                </c:pt>
                <c:pt idx="449">
                  <c:v>97.365964484485858</c:v>
                </c:pt>
                <c:pt idx="450">
                  <c:v>97.203094459794443</c:v>
                </c:pt>
                <c:pt idx="451">
                  <c:v>97.169309211544601</c:v>
                </c:pt>
                <c:pt idx="452">
                  <c:v>97.078179114057093</c:v>
                </c:pt>
                <c:pt idx="453">
                  <c:v>96.931739347028497</c:v>
                </c:pt>
                <c:pt idx="454">
                  <c:v>96.791313327804687</c:v>
                </c:pt>
                <c:pt idx="455">
                  <c:v>96.639099571837164</c:v>
                </c:pt>
                <c:pt idx="456">
                  <c:v>96.034945836397128</c:v>
                </c:pt>
                <c:pt idx="457">
                  <c:v>95.997726306542745</c:v>
                </c:pt>
                <c:pt idx="458">
                  <c:v>95.753718500278524</c:v>
                </c:pt>
                <c:pt idx="459">
                  <c:v>95.735960336996527</c:v>
                </c:pt>
                <c:pt idx="460">
                  <c:v>95.675040092344602</c:v>
                </c:pt>
                <c:pt idx="461">
                  <c:v>95.461252436411428</c:v>
                </c:pt>
                <c:pt idx="462">
                  <c:v>95.365311255428878</c:v>
                </c:pt>
                <c:pt idx="463">
                  <c:v>95.361861101323825</c:v>
                </c:pt>
                <c:pt idx="464">
                  <c:v>95.068230545666211</c:v>
                </c:pt>
                <c:pt idx="465">
                  <c:v>94.969922208583398</c:v>
                </c:pt>
                <c:pt idx="466">
                  <c:v>94.811612784768158</c:v>
                </c:pt>
                <c:pt idx="467">
                  <c:v>94.624209529893619</c:v>
                </c:pt>
                <c:pt idx="468">
                  <c:v>94.545492949440927</c:v>
                </c:pt>
                <c:pt idx="469">
                  <c:v>94.520632891601053</c:v>
                </c:pt>
                <c:pt idx="470">
                  <c:v>94.512333481481278</c:v>
                </c:pt>
                <c:pt idx="471">
                  <c:v>94.373403930453264</c:v>
                </c:pt>
                <c:pt idx="472">
                  <c:v>94.37199967979609</c:v>
                </c:pt>
                <c:pt idx="473">
                  <c:v>94.24571825592102</c:v>
                </c:pt>
                <c:pt idx="474">
                  <c:v>94.173385572197162</c:v>
                </c:pt>
                <c:pt idx="475">
                  <c:v>93.773647808318287</c:v>
                </c:pt>
                <c:pt idx="476">
                  <c:v>93.745136010025817</c:v>
                </c:pt>
                <c:pt idx="477">
                  <c:v>93.355526100866541</c:v>
                </c:pt>
                <c:pt idx="478">
                  <c:v>93.250659729473796</c:v>
                </c:pt>
                <c:pt idx="479">
                  <c:v>93.242191756777856</c:v>
                </c:pt>
                <c:pt idx="480">
                  <c:v>93.164177301653467</c:v>
                </c:pt>
                <c:pt idx="481">
                  <c:v>93.027865389344697</c:v>
                </c:pt>
                <c:pt idx="482">
                  <c:v>92.846062412084621</c:v>
                </c:pt>
                <c:pt idx="483">
                  <c:v>92.699040186031993</c:v>
                </c:pt>
                <c:pt idx="484">
                  <c:v>92.52877446289699</c:v>
                </c:pt>
                <c:pt idx="485">
                  <c:v>92.51077139200072</c:v>
                </c:pt>
                <c:pt idx="486">
                  <c:v>92.501846201590297</c:v>
                </c:pt>
                <c:pt idx="487">
                  <c:v>92.276804371665889</c:v>
                </c:pt>
                <c:pt idx="488">
                  <c:v>92.248172907068579</c:v>
                </c:pt>
                <c:pt idx="489">
                  <c:v>92.181527143492985</c:v>
                </c:pt>
                <c:pt idx="490">
                  <c:v>92.147131987452667</c:v>
                </c:pt>
                <c:pt idx="491">
                  <c:v>92.096791666486979</c:v>
                </c:pt>
                <c:pt idx="492">
                  <c:v>92.014004300386318</c:v>
                </c:pt>
                <c:pt idx="493">
                  <c:v>91.974167131812351</c:v>
                </c:pt>
                <c:pt idx="494">
                  <c:v>91.934329963238497</c:v>
                </c:pt>
                <c:pt idx="495">
                  <c:v>91.934329963238497</c:v>
                </c:pt>
                <c:pt idx="496">
                  <c:v>91.776314343308741</c:v>
                </c:pt>
                <c:pt idx="497">
                  <c:v>91.678419476416479</c:v>
                </c:pt>
                <c:pt idx="498">
                  <c:v>91.594843342453828</c:v>
                </c:pt>
                <c:pt idx="499">
                  <c:v>91.421594980423265</c:v>
                </c:pt>
                <c:pt idx="500">
                  <c:v>91.392751205725858</c:v>
                </c:pt>
                <c:pt idx="501">
                  <c:v>91.339264832036747</c:v>
                </c:pt>
                <c:pt idx="502">
                  <c:v>90.641657164275784</c:v>
                </c:pt>
                <c:pt idx="503">
                  <c:v>90.487370056093823</c:v>
                </c:pt>
                <c:pt idx="504">
                  <c:v>90.449274263329585</c:v>
                </c:pt>
                <c:pt idx="505">
                  <c:v>90.309974563377637</c:v>
                </c:pt>
                <c:pt idx="506">
                  <c:v>90.230169836172195</c:v>
                </c:pt>
                <c:pt idx="507">
                  <c:v>89.935336616204722</c:v>
                </c:pt>
                <c:pt idx="508">
                  <c:v>89.8398959742035</c:v>
                </c:pt>
                <c:pt idx="509">
                  <c:v>89.813708010744563</c:v>
                </c:pt>
                <c:pt idx="510">
                  <c:v>89.306905281948957</c:v>
                </c:pt>
                <c:pt idx="511">
                  <c:v>89.123654306508115</c:v>
                </c:pt>
                <c:pt idx="512">
                  <c:v>88.910732189731789</c:v>
                </c:pt>
                <c:pt idx="513">
                  <c:v>88.871684215276787</c:v>
                </c:pt>
                <c:pt idx="514">
                  <c:v>88.870851699890977</c:v>
                </c:pt>
                <c:pt idx="515">
                  <c:v>88.868070647343302</c:v>
                </c:pt>
                <c:pt idx="516">
                  <c:v>88.842470291656014</c:v>
                </c:pt>
                <c:pt idx="517">
                  <c:v>88.574897309399717</c:v>
                </c:pt>
                <c:pt idx="518">
                  <c:v>88.320603383335538</c:v>
                </c:pt>
                <c:pt idx="519">
                  <c:v>88.311846755501506</c:v>
                </c:pt>
                <c:pt idx="520">
                  <c:v>88.030162201668418</c:v>
                </c:pt>
                <c:pt idx="521">
                  <c:v>87.933807550494976</c:v>
                </c:pt>
                <c:pt idx="522">
                  <c:v>87.796118836295477</c:v>
                </c:pt>
                <c:pt idx="523">
                  <c:v>87.636770161999038</c:v>
                </c:pt>
                <c:pt idx="524">
                  <c:v>87.614364329050431</c:v>
                </c:pt>
                <c:pt idx="525">
                  <c:v>87.600046022377683</c:v>
                </c:pt>
                <c:pt idx="526">
                  <c:v>87.50082839861409</c:v>
                </c:pt>
                <c:pt idx="527">
                  <c:v>87.325876833292909</c:v>
                </c:pt>
                <c:pt idx="528">
                  <c:v>87.26844491526515</c:v>
                </c:pt>
                <c:pt idx="529">
                  <c:v>87.264543118450888</c:v>
                </c:pt>
                <c:pt idx="530">
                  <c:v>87.130838121108468</c:v>
                </c:pt>
                <c:pt idx="531">
                  <c:v>87.087974992372438</c:v>
                </c:pt>
                <c:pt idx="532">
                  <c:v>86.782556699970996</c:v>
                </c:pt>
                <c:pt idx="533">
                  <c:v>86.726741342700393</c:v>
                </c:pt>
                <c:pt idx="534">
                  <c:v>86.409785369917472</c:v>
                </c:pt>
                <c:pt idx="535">
                  <c:v>86.165907953710985</c:v>
                </c:pt>
                <c:pt idx="536">
                  <c:v>86.13316753094648</c:v>
                </c:pt>
                <c:pt idx="537">
                  <c:v>86.087398108353227</c:v>
                </c:pt>
                <c:pt idx="538">
                  <c:v>86.087104304467061</c:v>
                </c:pt>
                <c:pt idx="539">
                  <c:v>85.887047773692075</c:v>
                </c:pt>
                <c:pt idx="540">
                  <c:v>85.794801654428966</c:v>
                </c:pt>
                <c:pt idx="541">
                  <c:v>85.636073611675556</c:v>
                </c:pt>
                <c:pt idx="542">
                  <c:v>85.448838919376954</c:v>
                </c:pt>
                <c:pt idx="543">
                  <c:v>85.411200344327199</c:v>
                </c:pt>
                <c:pt idx="544">
                  <c:v>85.282894038251925</c:v>
                </c:pt>
                <c:pt idx="545">
                  <c:v>85.236711145468007</c:v>
                </c:pt>
                <c:pt idx="546">
                  <c:v>85.215628069390391</c:v>
                </c:pt>
                <c:pt idx="547">
                  <c:v>85.116035147955017</c:v>
                </c:pt>
                <c:pt idx="548">
                  <c:v>84.780445175237674</c:v>
                </c:pt>
                <c:pt idx="549">
                  <c:v>84.627828246575064</c:v>
                </c:pt>
                <c:pt idx="550">
                  <c:v>84.557357031222978</c:v>
                </c:pt>
                <c:pt idx="551">
                  <c:v>84.554537806155736</c:v>
                </c:pt>
                <c:pt idx="552">
                  <c:v>84.522591726258497</c:v>
                </c:pt>
                <c:pt idx="553">
                  <c:v>84.48747857238925</c:v>
                </c:pt>
                <c:pt idx="554">
                  <c:v>84.465731543502102</c:v>
                </c:pt>
                <c:pt idx="555">
                  <c:v>84.338012845198705</c:v>
                </c:pt>
                <c:pt idx="556">
                  <c:v>84.077819688886052</c:v>
                </c:pt>
                <c:pt idx="557">
                  <c:v>83.890334940225671</c:v>
                </c:pt>
                <c:pt idx="558">
                  <c:v>83.590108177739125</c:v>
                </c:pt>
                <c:pt idx="559">
                  <c:v>83.445029340100859</c:v>
                </c:pt>
                <c:pt idx="560">
                  <c:v>83.382993073673106</c:v>
                </c:pt>
                <c:pt idx="561">
                  <c:v>82.955701268196776</c:v>
                </c:pt>
                <c:pt idx="562">
                  <c:v>82.826682539297394</c:v>
                </c:pt>
                <c:pt idx="563">
                  <c:v>82.742572416325743</c:v>
                </c:pt>
                <c:pt idx="564">
                  <c:v>82.73679842738693</c:v>
                </c:pt>
                <c:pt idx="565">
                  <c:v>82.623099083122383</c:v>
                </c:pt>
                <c:pt idx="566">
                  <c:v>82.343406387717891</c:v>
                </c:pt>
                <c:pt idx="567">
                  <c:v>82.233108727543936</c:v>
                </c:pt>
                <c:pt idx="568">
                  <c:v>81.998738534514018</c:v>
                </c:pt>
                <c:pt idx="569">
                  <c:v>81.995456942985697</c:v>
                </c:pt>
                <c:pt idx="570">
                  <c:v>81.836440245093854</c:v>
                </c:pt>
                <c:pt idx="571">
                  <c:v>81.822165259687949</c:v>
                </c:pt>
                <c:pt idx="572">
                  <c:v>81.794817953186225</c:v>
                </c:pt>
                <c:pt idx="573">
                  <c:v>81.745810686587674</c:v>
                </c:pt>
                <c:pt idx="574">
                  <c:v>81.678549866473759</c:v>
                </c:pt>
                <c:pt idx="575">
                  <c:v>81.577629039419548</c:v>
                </c:pt>
                <c:pt idx="576">
                  <c:v>81.489987268556433</c:v>
                </c:pt>
                <c:pt idx="577">
                  <c:v>81.359760300342941</c:v>
                </c:pt>
                <c:pt idx="578">
                  <c:v>81.302660358719891</c:v>
                </c:pt>
                <c:pt idx="579">
                  <c:v>81.042848075083725</c:v>
                </c:pt>
                <c:pt idx="580">
                  <c:v>80.854122063337513</c:v>
                </c:pt>
                <c:pt idx="581">
                  <c:v>80.832168299355203</c:v>
                </c:pt>
                <c:pt idx="582">
                  <c:v>80.775068357732493</c:v>
                </c:pt>
                <c:pt idx="583">
                  <c:v>80.538744478793092</c:v>
                </c:pt>
                <c:pt idx="584">
                  <c:v>80.503429738576301</c:v>
                </c:pt>
                <c:pt idx="585">
                  <c:v>80.421888784308862</c:v>
                </c:pt>
                <c:pt idx="586">
                  <c:v>80.341256690465343</c:v>
                </c:pt>
                <c:pt idx="587">
                  <c:v>80.023353684739732</c:v>
                </c:pt>
                <c:pt idx="588">
                  <c:v>79.871635319005236</c:v>
                </c:pt>
                <c:pt idx="589">
                  <c:v>79.710963887838034</c:v>
                </c:pt>
                <c:pt idx="590">
                  <c:v>79.669336447182218</c:v>
                </c:pt>
                <c:pt idx="591">
                  <c:v>79.373213494115248</c:v>
                </c:pt>
                <c:pt idx="592">
                  <c:v>79.372511368786377</c:v>
                </c:pt>
                <c:pt idx="593">
                  <c:v>79.334002105831701</c:v>
                </c:pt>
                <c:pt idx="594">
                  <c:v>79.329522998740913</c:v>
                </c:pt>
                <c:pt idx="595">
                  <c:v>78.942269948186436</c:v>
                </c:pt>
                <c:pt idx="596">
                  <c:v>78.697935314265578</c:v>
                </c:pt>
                <c:pt idx="597">
                  <c:v>78.693325817117397</c:v>
                </c:pt>
                <c:pt idx="598">
                  <c:v>78.626892363641787</c:v>
                </c:pt>
                <c:pt idx="599">
                  <c:v>78.553525578184235</c:v>
                </c:pt>
                <c:pt idx="600">
                  <c:v>78.512317182724473</c:v>
                </c:pt>
                <c:pt idx="601">
                  <c:v>78.398367355840605</c:v>
                </c:pt>
                <c:pt idx="602">
                  <c:v>78.382024166968336</c:v>
                </c:pt>
                <c:pt idx="603">
                  <c:v>78.282632831880733</c:v>
                </c:pt>
                <c:pt idx="604">
                  <c:v>78.233538496491406</c:v>
                </c:pt>
                <c:pt idx="605">
                  <c:v>78.055931119932097</c:v>
                </c:pt>
                <c:pt idx="606">
                  <c:v>77.966466053216891</c:v>
                </c:pt>
                <c:pt idx="607">
                  <c:v>77.517258656276795</c:v>
                </c:pt>
                <c:pt idx="608">
                  <c:v>77.483440384255914</c:v>
                </c:pt>
                <c:pt idx="609">
                  <c:v>77.399450353845623</c:v>
                </c:pt>
                <c:pt idx="610">
                  <c:v>77.387624444582912</c:v>
                </c:pt>
                <c:pt idx="611">
                  <c:v>77.277364956927499</c:v>
                </c:pt>
                <c:pt idx="612">
                  <c:v>77.277364956927499</c:v>
                </c:pt>
                <c:pt idx="613">
                  <c:v>76.690473994536546</c:v>
                </c:pt>
                <c:pt idx="614">
                  <c:v>76.675823711459088</c:v>
                </c:pt>
                <c:pt idx="615">
                  <c:v>76.613662203721788</c:v>
                </c:pt>
                <c:pt idx="616">
                  <c:v>76.509421612619235</c:v>
                </c:pt>
                <c:pt idx="617">
                  <c:v>76.417589389803879</c:v>
                </c:pt>
                <c:pt idx="618">
                  <c:v>76.373311286658236</c:v>
                </c:pt>
                <c:pt idx="619">
                  <c:v>76.271481599179651</c:v>
                </c:pt>
                <c:pt idx="620">
                  <c:v>76.172590803073035</c:v>
                </c:pt>
                <c:pt idx="621">
                  <c:v>76.063202003323227</c:v>
                </c:pt>
                <c:pt idx="622">
                  <c:v>75.949502659058567</c:v>
                </c:pt>
                <c:pt idx="623">
                  <c:v>75.812227841306253</c:v>
                </c:pt>
                <c:pt idx="624">
                  <c:v>75.749359059492804</c:v>
                </c:pt>
                <c:pt idx="625">
                  <c:v>75.732596825424821</c:v>
                </c:pt>
                <c:pt idx="626">
                  <c:v>75.707366618661467</c:v>
                </c:pt>
                <c:pt idx="627">
                  <c:v>75.38892490143553</c:v>
                </c:pt>
                <c:pt idx="628">
                  <c:v>75.373730331853494</c:v>
                </c:pt>
                <c:pt idx="629">
                  <c:v>75.195622416313086</c:v>
                </c:pt>
                <c:pt idx="630">
                  <c:v>75.075240222685807</c:v>
                </c:pt>
                <c:pt idx="631">
                  <c:v>75.035778351783392</c:v>
                </c:pt>
                <c:pt idx="632">
                  <c:v>74.839171975113004</c:v>
                </c:pt>
                <c:pt idx="633">
                  <c:v>74.759655903045314</c:v>
                </c:pt>
                <c:pt idx="634">
                  <c:v>74.716672681747809</c:v>
                </c:pt>
                <c:pt idx="635">
                  <c:v>74.683513213788387</c:v>
                </c:pt>
                <c:pt idx="636">
                  <c:v>74.658114444448074</c:v>
                </c:pt>
                <c:pt idx="637">
                  <c:v>74.594543537306322</c:v>
                </c:pt>
                <c:pt idx="638">
                  <c:v>74.491130312842301</c:v>
                </c:pt>
                <c:pt idx="639">
                  <c:v>74.329958342693317</c:v>
                </c:pt>
                <c:pt idx="640">
                  <c:v>74.311237273968459</c:v>
                </c:pt>
                <c:pt idx="641">
                  <c:v>74.290448001776326</c:v>
                </c:pt>
                <c:pt idx="642">
                  <c:v>74.180400397964377</c:v>
                </c:pt>
                <c:pt idx="643">
                  <c:v>74.180400397964377</c:v>
                </c:pt>
                <c:pt idx="644">
                  <c:v>74.145210899057133</c:v>
                </c:pt>
                <c:pt idx="645">
                  <c:v>73.979718086898401</c:v>
                </c:pt>
                <c:pt idx="646">
                  <c:v>73.83112304761255</c:v>
                </c:pt>
                <c:pt idx="647">
                  <c:v>73.712809057451977</c:v>
                </c:pt>
                <c:pt idx="648">
                  <c:v>73.64944488540516</c:v>
                </c:pt>
                <c:pt idx="649">
                  <c:v>73.449720331034655</c:v>
                </c:pt>
                <c:pt idx="650">
                  <c:v>72.975821438831645</c:v>
                </c:pt>
                <c:pt idx="651">
                  <c:v>72.901463872907584</c:v>
                </c:pt>
                <c:pt idx="652">
                  <c:v>72.864957192134057</c:v>
                </c:pt>
                <c:pt idx="653">
                  <c:v>72.741652832149043</c:v>
                </c:pt>
                <c:pt idx="654">
                  <c:v>72.644807939490533</c:v>
                </c:pt>
                <c:pt idx="655">
                  <c:v>72.622141326426913</c:v>
                </c:pt>
                <c:pt idx="656">
                  <c:v>72.470760085845313</c:v>
                </c:pt>
                <c:pt idx="657">
                  <c:v>72.412919846374962</c:v>
                </c:pt>
                <c:pt idx="658">
                  <c:v>72.345033245970853</c:v>
                </c:pt>
                <c:pt idx="659">
                  <c:v>72.342410458503764</c:v>
                </c:pt>
                <c:pt idx="660">
                  <c:v>72.199497190617876</c:v>
                </c:pt>
                <c:pt idx="661">
                  <c:v>72.144095303537824</c:v>
                </c:pt>
                <c:pt idx="662">
                  <c:v>71.900054473502792</c:v>
                </c:pt>
                <c:pt idx="663">
                  <c:v>71.651610881414854</c:v>
                </c:pt>
                <c:pt idx="664">
                  <c:v>71.211034870999583</c:v>
                </c:pt>
                <c:pt idx="665">
                  <c:v>70.953094353230085</c:v>
                </c:pt>
                <c:pt idx="666">
                  <c:v>70.353665058752085</c:v>
                </c:pt>
                <c:pt idx="667">
                  <c:v>70.351591280280559</c:v>
                </c:pt>
                <c:pt idx="668">
                  <c:v>69.824701404621692</c:v>
                </c:pt>
                <c:pt idx="669">
                  <c:v>69.824701404621692</c:v>
                </c:pt>
                <c:pt idx="670">
                  <c:v>69.753163063764191</c:v>
                </c:pt>
                <c:pt idx="671">
                  <c:v>69.585645369405711</c:v>
                </c:pt>
                <c:pt idx="672">
                  <c:v>69.51434678741532</c:v>
                </c:pt>
                <c:pt idx="673">
                  <c:v>69.09966493657339</c:v>
                </c:pt>
                <c:pt idx="674">
                  <c:v>69.087713786000904</c:v>
                </c:pt>
                <c:pt idx="675">
                  <c:v>69.056050786236597</c:v>
                </c:pt>
                <c:pt idx="676">
                  <c:v>69.000942703042597</c:v>
                </c:pt>
                <c:pt idx="677">
                  <c:v>68.891891028444888</c:v>
                </c:pt>
                <c:pt idx="678">
                  <c:v>68.891640972082996</c:v>
                </c:pt>
                <c:pt idx="679">
                  <c:v>68.686229071307366</c:v>
                </c:pt>
                <c:pt idx="680">
                  <c:v>68.405507422917708</c:v>
                </c:pt>
                <c:pt idx="681">
                  <c:v>68.342758733665505</c:v>
                </c:pt>
                <c:pt idx="682">
                  <c:v>68.260765710431656</c:v>
                </c:pt>
                <c:pt idx="683">
                  <c:v>67.537095320521303</c:v>
                </c:pt>
                <c:pt idx="684">
                  <c:v>67.266534550622623</c:v>
                </c:pt>
                <c:pt idx="685">
                  <c:v>67.25972645995023</c:v>
                </c:pt>
                <c:pt idx="686">
                  <c:v>67.211383146161666</c:v>
                </c:pt>
                <c:pt idx="687">
                  <c:v>67.194659084612681</c:v>
                </c:pt>
                <c:pt idx="688">
                  <c:v>67.165738964877391</c:v>
                </c:pt>
                <c:pt idx="689">
                  <c:v>67.135692525870923</c:v>
                </c:pt>
                <c:pt idx="690">
                  <c:v>67.076807460914665</c:v>
                </c:pt>
                <c:pt idx="691">
                  <c:v>67.034276308583117</c:v>
                </c:pt>
                <c:pt idx="692">
                  <c:v>67.016181020148679</c:v>
                </c:pt>
                <c:pt idx="693">
                  <c:v>66.812140772515704</c:v>
                </c:pt>
                <c:pt idx="694">
                  <c:v>66.751971123207113</c:v>
                </c:pt>
                <c:pt idx="695">
                  <c:v>66.632252882389821</c:v>
                </c:pt>
                <c:pt idx="696">
                  <c:v>66.457137903239982</c:v>
                </c:pt>
                <c:pt idx="697">
                  <c:v>66.41929259309461</c:v>
                </c:pt>
                <c:pt idx="698">
                  <c:v>66.378829644229995</c:v>
                </c:pt>
                <c:pt idx="699">
                  <c:v>66.314176165339745</c:v>
                </c:pt>
                <c:pt idx="700">
                  <c:v>66.131632463975279</c:v>
                </c:pt>
                <c:pt idx="701">
                  <c:v>66.091958709229971</c:v>
                </c:pt>
                <c:pt idx="702">
                  <c:v>66.091463318996716</c:v>
                </c:pt>
                <c:pt idx="703">
                  <c:v>65.920658884361387</c:v>
                </c:pt>
                <c:pt idx="704">
                  <c:v>65.919961907780248</c:v>
                </c:pt>
                <c:pt idx="705">
                  <c:v>65.919788196456238</c:v>
                </c:pt>
                <c:pt idx="706">
                  <c:v>65.538559191202808</c:v>
                </c:pt>
                <c:pt idx="707">
                  <c:v>65.137695108052185</c:v>
                </c:pt>
                <c:pt idx="708">
                  <c:v>65.09690018278252</c:v>
                </c:pt>
                <c:pt idx="709">
                  <c:v>64.916892626351455</c:v>
                </c:pt>
                <c:pt idx="710">
                  <c:v>64.586614276110481</c:v>
                </c:pt>
                <c:pt idx="711">
                  <c:v>64.578021062105108</c:v>
                </c:pt>
                <c:pt idx="712">
                  <c:v>64.291525424776523</c:v>
                </c:pt>
                <c:pt idx="713">
                  <c:v>64.288205660728863</c:v>
                </c:pt>
                <c:pt idx="714">
                  <c:v>63.987935576975246</c:v>
                </c:pt>
                <c:pt idx="715">
                  <c:v>63.933654860418869</c:v>
                </c:pt>
                <c:pt idx="716">
                  <c:v>63.697744877927335</c:v>
                </c:pt>
                <c:pt idx="717">
                  <c:v>63.557444100013072</c:v>
                </c:pt>
                <c:pt idx="718">
                  <c:v>63.445779935443966</c:v>
                </c:pt>
                <c:pt idx="719">
                  <c:v>63.345354498622783</c:v>
                </c:pt>
                <c:pt idx="720">
                  <c:v>63.311324342758553</c:v>
                </c:pt>
                <c:pt idx="721">
                  <c:v>63.211731421323293</c:v>
                </c:pt>
                <c:pt idx="722">
                  <c:v>62.949638624120325</c:v>
                </c:pt>
                <c:pt idx="723">
                  <c:v>62.582304157853059</c:v>
                </c:pt>
                <c:pt idx="724">
                  <c:v>62.558200270360999</c:v>
                </c:pt>
                <c:pt idx="725">
                  <c:v>62.510270426762645</c:v>
                </c:pt>
                <c:pt idx="726">
                  <c:v>62.482547822589254</c:v>
                </c:pt>
                <c:pt idx="727">
                  <c:v>62.14148281356654</c:v>
                </c:pt>
                <c:pt idx="728">
                  <c:v>61.968855083079006</c:v>
                </c:pt>
                <c:pt idx="729">
                  <c:v>61.875901689739294</c:v>
                </c:pt>
                <c:pt idx="730">
                  <c:v>61.752493535950293</c:v>
                </c:pt>
                <c:pt idx="731">
                  <c:v>61.585422335553176</c:v>
                </c:pt>
                <c:pt idx="732">
                  <c:v>61.459603278140094</c:v>
                </c:pt>
                <c:pt idx="733">
                  <c:v>61.381050111515833</c:v>
                </c:pt>
                <c:pt idx="734">
                  <c:v>61.376902980829755</c:v>
                </c:pt>
                <c:pt idx="735">
                  <c:v>61.349844329466009</c:v>
                </c:pt>
                <c:pt idx="736">
                  <c:v>61.195143324836636</c:v>
                </c:pt>
                <c:pt idx="737">
                  <c:v>61.012556302205553</c:v>
                </c:pt>
                <c:pt idx="738">
                  <c:v>60.997453950161798</c:v>
                </c:pt>
                <c:pt idx="739">
                  <c:v>60.992969694323278</c:v>
                </c:pt>
                <c:pt idx="740">
                  <c:v>60.853082386599681</c:v>
                </c:pt>
                <c:pt idx="741">
                  <c:v>60.60152619181622</c:v>
                </c:pt>
                <c:pt idx="742">
                  <c:v>60.381969695692078</c:v>
                </c:pt>
                <c:pt idx="743">
                  <c:v>60.319552982844812</c:v>
                </c:pt>
                <c:pt idx="744">
                  <c:v>60.16730105435829</c:v>
                </c:pt>
                <c:pt idx="745">
                  <c:v>60.024763084144865</c:v>
                </c:pt>
                <c:pt idx="746">
                  <c:v>59.917197580246921</c:v>
                </c:pt>
                <c:pt idx="747">
                  <c:v>59.901099298988584</c:v>
                </c:pt>
                <c:pt idx="748">
                  <c:v>59.8552865551286</c:v>
                </c:pt>
                <c:pt idx="749">
                  <c:v>59.578750209943337</c:v>
                </c:pt>
                <c:pt idx="750">
                  <c:v>59.21519272543776</c:v>
                </c:pt>
                <c:pt idx="751">
                  <c:v>59.121324896669876</c:v>
                </c:pt>
                <c:pt idx="752">
                  <c:v>59.056714739046356</c:v>
                </c:pt>
                <c:pt idx="753">
                  <c:v>59.012893853614742</c:v>
                </c:pt>
                <c:pt idx="754">
                  <c:v>58.934922719757651</c:v>
                </c:pt>
                <c:pt idx="755">
                  <c:v>58.814540526130372</c:v>
                </c:pt>
                <c:pt idx="756">
                  <c:v>58.586636149872106</c:v>
                </c:pt>
                <c:pt idx="757">
                  <c:v>58.472272852798142</c:v>
                </c:pt>
                <c:pt idx="758">
                  <c:v>58.394960523002169</c:v>
                </c:pt>
                <c:pt idx="759">
                  <c:v>58.320227659407124</c:v>
                </c:pt>
                <c:pt idx="760">
                  <c:v>58.239182095373167</c:v>
                </c:pt>
                <c:pt idx="761">
                  <c:v>58.022151020430101</c:v>
                </c:pt>
                <c:pt idx="762">
                  <c:v>57.854502936013887</c:v>
                </c:pt>
                <c:pt idx="763">
                  <c:v>57.713331470195044</c:v>
                </c:pt>
                <c:pt idx="764">
                  <c:v>57.682631375874166</c:v>
                </c:pt>
                <c:pt idx="765">
                  <c:v>57.53095118265901</c:v>
                </c:pt>
                <c:pt idx="766">
                  <c:v>57.488958741828014</c:v>
                </c:pt>
                <c:pt idx="767">
                  <c:v>57.450406157605926</c:v>
                </c:pt>
                <c:pt idx="768">
                  <c:v>57.287073766452409</c:v>
                </c:pt>
                <c:pt idx="769">
                  <c:v>56.809571603811264</c:v>
                </c:pt>
                <c:pt idx="770">
                  <c:v>56.800646413401182</c:v>
                </c:pt>
                <c:pt idx="771">
                  <c:v>56.673499450368809</c:v>
                </c:pt>
                <c:pt idx="772">
                  <c:v>56.641297739104743</c:v>
                </c:pt>
                <c:pt idx="773">
                  <c:v>56.554940552593962</c:v>
                </c:pt>
                <c:pt idx="774">
                  <c:v>56.532409478335353</c:v>
                </c:pt>
                <c:pt idx="775">
                  <c:v>56.472153186493529</c:v>
                </c:pt>
                <c:pt idx="776">
                  <c:v>56.140633999423358</c:v>
                </c:pt>
                <c:pt idx="777">
                  <c:v>56.118396729050914</c:v>
                </c:pt>
                <c:pt idx="778">
                  <c:v>55.861773819405244</c:v>
                </c:pt>
                <c:pt idx="779">
                  <c:v>55.778115765398979</c:v>
                </c:pt>
                <c:pt idx="780">
                  <c:v>55.778115765398979</c:v>
                </c:pt>
                <c:pt idx="781">
                  <c:v>55.714376295680495</c:v>
                </c:pt>
                <c:pt idx="782">
                  <c:v>55.631093539346807</c:v>
                </c:pt>
                <c:pt idx="783">
                  <c:v>55.449665859758511</c:v>
                </c:pt>
                <c:pt idx="784">
                  <c:v>55.263345602888649</c:v>
                </c:pt>
                <c:pt idx="785">
                  <c:v>55.248281423364233</c:v>
                </c:pt>
                <c:pt idx="786">
                  <c:v>55.189396358407862</c:v>
                </c:pt>
                <c:pt idx="787">
                  <c:v>55.128443089985012</c:v>
                </c:pt>
                <c:pt idx="788">
                  <c:v>55.102712344240331</c:v>
                </c:pt>
                <c:pt idx="789">
                  <c:v>54.967804682588394</c:v>
                </c:pt>
                <c:pt idx="790">
                  <c:v>54.810072569048884</c:v>
                </c:pt>
                <c:pt idx="791">
                  <c:v>54.767416175408243</c:v>
                </c:pt>
                <c:pt idx="792">
                  <c:v>54.698528497041593</c:v>
                </c:pt>
                <c:pt idx="793">
                  <c:v>54.435771747029207</c:v>
                </c:pt>
                <c:pt idx="794">
                  <c:v>54.305179778639399</c:v>
                </c:pt>
                <c:pt idx="795">
                  <c:v>54.233304312629571</c:v>
                </c:pt>
                <c:pt idx="796">
                  <c:v>54.215628069390164</c:v>
                </c:pt>
                <c:pt idx="797">
                  <c:v>53.938803069067148</c:v>
                </c:pt>
                <c:pt idx="798">
                  <c:v>53.815106260140055</c:v>
                </c:pt>
                <c:pt idx="799">
                  <c:v>53.740613155411097</c:v>
                </c:pt>
                <c:pt idx="800">
                  <c:v>53.666914393549064</c:v>
                </c:pt>
                <c:pt idx="801">
                  <c:v>53.424941766980396</c:v>
                </c:pt>
                <c:pt idx="802">
                  <c:v>53.402535934031675</c:v>
                </c:pt>
                <c:pt idx="803">
                  <c:v>53.383031246191877</c:v>
                </c:pt>
                <c:pt idx="804">
                  <c:v>53.364151912386092</c:v>
                </c:pt>
                <c:pt idx="805">
                  <c:v>53.278170023547318</c:v>
                </c:pt>
                <c:pt idx="806">
                  <c:v>53.170609668397105</c:v>
                </c:pt>
                <c:pt idx="807">
                  <c:v>53.151725185843247</c:v>
                </c:pt>
                <c:pt idx="808">
                  <c:v>53.084252481886097</c:v>
                </c:pt>
                <c:pt idx="809">
                  <c:v>53.033209609335586</c:v>
                </c:pt>
                <c:pt idx="810">
                  <c:v>52.815231501449716</c:v>
                </c:pt>
                <c:pt idx="811">
                  <c:v>52.802279272915371</c:v>
                </c:pt>
                <c:pt idx="812">
                  <c:v>52.741570912106681</c:v>
                </c:pt>
                <c:pt idx="813">
                  <c:v>52.66936346969203</c:v>
                </c:pt>
                <c:pt idx="814">
                  <c:v>52.644263652985956</c:v>
                </c:pt>
                <c:pt idx="815">
                  <c:v>52.595125996330125</c:v>
                </c:pt>
                <c:pt idx="816">
                  <c:v>52.528273497658915</c:v>
                </c:pt>
                <c:pt idx="817">
                  <c:v>52.495533074894979</c:v>
                </c:pt>
                <c:pt idx="818">
                  <c:v>52.403907587174558</c:v>
                </c:pt>
                <c:pt idx="819">
                  <c:v>52.348510848842238</c:v>
                </c:pt>
                <c:pt idx="820">
                  <c:v>52.300330948881765</c:v>
                </c:pt>
                <c:pt idx="821">
                  <c:v>52.259623092402762</c:v>
                </c:pt>
                <c:pt idx="822">
                  <c:v>52.259623092402762</c:v>
                </c:pt>
                <c:pt idx="823">
                  <c:v>52.239954564477898</c:v>
                </c:pt>
                <c:pt idx="824">
                  <c:v>52.174223236330704</c:v>
                </c:pt>
                <c:pt idx="825">
                  <c:v>52.15161066828648</c:v>
                </c:pt>
                <c:pt idx="826">
                  <c:v>52.053051848584573</c:v>
                </c:pt>
                <c:pt idx="827">
                  <c:v>51.542929355740853</c:v>
                </c:pt>
                <c:pt idx="828">
                  <c:v>51.491636426827881</c:v>
                </c:pt>
                <c:pt idx="829">
                  <c:v>51.440223405353322</c:v>
                </c:pt>
                <c:pt idx="830">
                  <c:v>51.073346156800199</c:v>
                </c:pt>
                <c:pt idx="831">
                  <c:v>51.071229057061942</c:v>
                </c:pt>
                <c:pt idx="832">
                  <c:v>51.068741808400091</c:v>
                </c:pt>
                <c:pt idx="833">
                  <c:v>50.80913625985886</c:v>
                </c:pt>
                <c:pt idx="834">
                  <c:v>50.739584628682337</c:v>
                </c:pt>
                <c:pt idx="835">
                  <c:v>50.499696078081115</c:v>
                </c:pt>
                <c:pt idx="836">
                  <c:v>50.464708165521301</c:v>
                </c:pt>
                <c:pt idx="837">
                  <c:v>50.308472520177588</c:v>
                </c:pt>
                <c:pt idx="838">
                  <c:v>50.257021326183803</c:v>
                </c:pt>
                <c:pt idx="839">
                  <c:v>50.23191121198181</c:v>
                </c:pt>
                <c:pt idx="840">
                  <c:v>50.229668870934347</c:v>
                </c:pt>
                <c:pt idx="841">
                  <c:v>50.110451169097928</c:v>
                </c:pt>
                <c:pt idx="842">
                  <c:v>49.968985899392919</c:v>
                </c:pt>
                <c:pt idx="843">
                  <c:v>49.910639545936988</c:v>
                </c:pt>
                <c:pt idx="844">
                  <c:v>49.843248335765452</c:v>
                </c:pt>
                <c:pt idx="845">
                  <c:v>49.822464212321393</c:v>
                </c:pt>
                <c:pt idx="846">
                  <c:v>49.780466622742324</c:v>
                </c:pt>
                <c:pt idx="847">
                  <c:v>49.694321320075119</c:v>
                </c:pt>
                <c:pt idx="848">
                  <c:v>49.556420722032499</c:v>
                </c:pt>
                <c:pt idx="849">
                  <c:v>49.465752991007435</c:v>
                </c:pt>
                <c:pt idx="850">
                  <c:v>49.400723788188543</c:v>
                </c:pt>
                <c:pt idx="851">
                  <c:v>49.275819166204087</c:v>
                </c:pt>
                <c:pt idx="852">
                  <c:v>49.243698948725637</c:v>
                </c:pt>
                <c:pt idx="853">
                  <c:v>48.942057638086339</c:v>
                </c:pt>
                <c:pt idx="854">
                  <c:v>48.749641713369215</c:v>
                </c:pt>
                <c:pt idx="855">
                  <c:v>48.734572385096385</c:v>
                </c:pt>
                <c:pt idx="856">
                  <c:v>48.668345666715936</c:v>
                </c:pt>
                <c:pt idx="857">
                  <c:v>48.652780948210079</c:v>
                </c:pt>
                <c:pt idx="858">
                  <c:v>48.535223128397547</c:v>
                </c:pt>
                <c:pt idx="859">
                  <c:v>48.279437882885304</c:v>
                </c:pt>
                <c:pt idx="860">
                  <c:v>48.268809489184491</c:v>
                </c:pt>
                <c:pt idx="861">
                  <c:v>48.268482661527628</c:v>
                </c:pt>
                <c:pt idx="862">
                  <c:v>48.232460647234575</c:v>
                </c:pt>
                <c:pt idx="863">
                  <c:v>48.126266370222766</c:v>
                </c:pt>
                <c:pt idx="864">
                  <c:v>48.109629377464444</c:v>
                </c:pt>
                <c:pt idx="865">
                  <c:v>47.823503889059566</c:v>
                </c:pt>
                <c:pt idx="866">
                  <c:v>47.753217108783588</c:v>
                </c:pt>
                <c:pt idx="867">
                  <c:v>47.737407482663684</c:v>
                </c:pt>
                <c:pt idx="868">
                  <c:v>47.698185370627698</c:v>
                </c:pt>
                <c:pt idx="869">
                  <c:v>47.551740454851029</c:v>
                </c:pt>
                <c:pt idx="870">
                  <c:v>47.378285357725304</c:v>
                </c:pt>
                <c:pt idx="871">
                  <c:v>47.375586225220331</c:v>
                </c:pt>
                <c:pt idx="872">
                  <c:v>47.254496331259588</c:v>
                </c:pt>
                <c:pt idx="873">
                  <c:v>47.181962061188301</c:v>
                </c:pt>
                <c:pt idx="874">
                  <c:v>47.133324943513685</c:v>
                </c:pt>
                <c:pt idx="875">
                  <c:v>46.957671252863747</c:v>
                </c:pt>
                <c:pt idx="876">
                  <c:v>46.798360751086648</c:v>
                </c:pt>
                <c:pt idx="877">
                  <c:v>46.787829723671621</c:v>
                </c:pt>
                <c:pt idx="878">
                  <c:v>46.734207811177271</c:v>
                </c:pt>
                <c:pt idx="879">
                  <c:v>46.704079452127417</c:v>
                </c:pt>
                <c:pt idx="880">
                  <c:v>46.527304590954031</c:v>
                </c:pt>
                <c:pt idx="881">
                  <c:v>46.387624444582912</c:v>
                </c:pt>
                <c:pt idx="882">
                  <c:v>46.21524677045727</c:v>
                </c:pt>
                <c:pt idx="883">
                  <c:v>46.182212543807282</c:v>
                </c:pt>
                <c:pt idx="884">
                  <c:v>46.13266656570886</c:v>
                </c:pt>
                <c:pt idx="885">
                  <c:v>45.948131005915684</c:v>
                </c:pt>
                <c:pt idx="886">
                  <c:v>45.883433779501729</c:v>
                </c:pt>
                <c:pt idx="887">
                  <c:v>45.834801810574618</c:v>
                </c:pt>
                <c:pt idx="888">
                  <c:v>45.797582280719894</c:v>
                </c:pt>
                <c:pt idx="889">
                  <c:v>45.561873884575562</c:v>
                </c:pt>
                <c:pt idx="890">
                  <c:v>45.550630008079906</c:v>
                </c:pt>
                <c:pt idx="891">
                  <c:v>45.408876083236805</c:v>
                </c:pt>
                <c:pt idx="892">
                  <c:v>45.042869522588603</c:v>
                </c:pt>
                <c:pt idx="893">
                  <c:v>44.990210515537456</c:v>
                </c:pt>
                <c:pt idx="894">
                  <c:v>44.873066165915588</c:v>
                </c:pt>
                <c:pt idx="895">
                  <c:v>44.797707522029327</c:v>
                </c:pt>
                <c:pt idx="896">
                  <c:v>44.572959495990744</c:v>
                </c:pt>
                <c:pt idx="897">
                  <c:v>44.549677826388574</c:v>
                </c:pt>
                <c:pt idx="898">
                  <c:v>44.537769997083501</c:v>
                </c:pt>
                <c:pt idx="899">
                  <c:v>44.384396898073192</c:v>
                </c:pt>
                <c:pt idx="900">
                  <c:v>44.261190330631393</c:v>
                </c:pt>
                <c:pt idx="901">
                  <c:v>44.196753884332338</c:v>
                </c:pt>
                <c:pt idx="902">
                  <c:v>44.086946039386817</c:v>
                </c:pt>
                <c:pt idx="903">
                  <c:v>44.04030078014091</c:v>
                </c:pt>
                <c:pt idx="904">
                  <c:v>44.032997299235603</c:v>
                </c:pt>
                <c:pt idx="905">
                  <c:v>44.018558900001153</c:v>
                </c:pt>
                <c:pt idx="906">
                  <c:v>43.851738182223585</c:v>
                </c:pt>
                <c:pt idx="907">
                  <c:v>43.83094891003168</c:v>
                </c:pt>
                <c:pt idx="908">
                  <c:v>43.818997759459194</c:v>
                </c:pt>
                <c:pt idx="909">
                  <c:v>43.728242959643694</c:v>
                </c:pt>
                <c:pt idx="910">
                  <c:v>43.636579299404502</c:v>
                </c:pt>
                <c:pt idx="911">
                  <c:v>43.61894122868398</c:v>
                </c:pt>
                <c:pt idx="912">
                  <c:v>43.606407619087918</c:v>
                </c:pt>
                <c:pt idx="913">
                  <c:v>43.339297003294064</c:v>
                </c:pt>
                <c:pt idx="914">
                  <c:v>43.307258705858544</c:v>
                </c:pt>
                <c:pt idx="915">
                  <c:v>43.253810504688317</c:v>
                </c:pt>
                <c:pt idx="916">
                  <c:v>43.010303237405424</c:v>
                </c:pt>
                <c:pt idx="917">
                  <c:v>43.004996763676672</c:v>
                </c:pt>
                <c:pt idx="918">
                  <c:v>42.932457344857426</c:v>
                </c:pt>
                <c:pt idx="919">
                  <c:v>42.848799290851957</c:v>
                </c:pt>
                <c:pt idx="920">
                  <c:v>42.803149960820065</c:v>
                </c:pt>
                <c:pt idx="921">
                  <c:v>42.742746127649752</c:v>
                </c:pt>
                <c:pt idx="922">
                  <c:v>42.718702712695631</c:v>
                </c:pt>
                <c:pt idx="923">
                  <c:v>42.565955393975514</c:v>
                </c:pt>
                <c:pt idx="924">
                  <c:v>42.177211023973541</c:v>
                </c:pt>
                <c:pt idx="925">
                  <c:v>42.112639038869247</c:v>
                </c:pt>
                <c:pt idx="926">
                  <c:v>42.058733619984764</c:v>
                </c:pt>
                <c:pt idx="927">
                  <c:v>42.019396990391897</c:v>
                </c:pt>
                <c:pt idx="928">
                  <c:v>41.888761700735245</c:v>
                </c:pt>
                <c:pt idx="929">
                  <c:v>41.873953152577428</c:v>
                </c:pt>
                <c:pt idx="930">
                  <c:v>41.835111913217816</c:v>
                </c:pt>
                <c:pt idx="931">
                  <c:v>41.824793195902657</c:v>
                </c:pt>
                <c:pt idx="932">
                  <c:v>41.823198935164328</c:v>
                </c:pt>
                <c:pt idx="933">
                  <c:v>41.733859109758441</c:v>
                </c:pt>
                <c:pt idx="934">
                  <c:v>41.733190008201291</c:v>
                </c:pt>
                <c:pt idx="935">
                  <c:v>41.646587487819602</c:v>
                </c:pt>
                <c:pt idx="936">
                  <c:v>41.55624658445106</c:v>
                </c:pt>
                <c:pt idx="937">
                  <c:v>41.497198105666257</c:v>
                </c:pt>
                <c:pt idx="938">
                  <c:v>41.40399465596488</c:v>
                </c:pt>
                <c:pt idx="939">
                  <c:v>41.390758921040288</c:v>
                </c:pt>
                <c:pt idx="940">
                  <c:v>41.043718336731672</c:v>
                </c:pt>
                <c:pt idx="941">
                  <c:v>41.031228474658974</c:v>
                </c:pt>
                <c:pt idx="942">
                  <c:v>40.95955974374499</c:v>
                </c:pt>
                <c:pt idx="943">
                  <c:v>40.909099330217714</c:v>
                </c:pt>
                <c:pt idx="944">
                  <c:v>40.859765235962413</c:v>
                </c:pt>
                <c:pt idx="945">
                  <c:v>40.813119976716166</c:v>
                </c:pt>
                <c:pt idx="946">
                  <c:v>40.777930477808923</c:v>
                </c:pt>
                <c:pt idx="947">
                  <c:v>40.730664587020215</c:v>
                </c:pt>
                <c:pt idx="948">
                  <c:v>40.713527055280906</c:v>
                </c:pt>
                <c:pt idx="949">
                  <c:v>40.683812592678805</c:v>
                </c:pt>
                <c:pt idx="950">
                  <c:v>40.534259796697484</c:v>
                </c:pt>
                <c:pt idx="951">
                  <c:v>40.530276079840405</c:v>
                </c:pt>
                <c:pt idx="952">
                  <c:v>40.477530003998481</c:v>
                </c:pt>
                <c:pt idx="953">
                  <c:v>40.444789581234545</c:v>
                </c:pt>
                <c:pt idx="954">
                  <c:v>40.441474965934162</c:v>
                </c:pt>
                <c:pt idx="955">
                  <c:v>40.416282931689807</c:v>
                </c:pt>
                <c:pt idx="956">
                  <c:v>40.188378555431768</c:v>
                </c:pt>
                <c:pt idx="957">
                  <c:v>40.084469940734039</c:v>
                </c:pt>
                <c:pt idx="958">
                  <c:v>40.080246465010418</c:v>
                </c:pt>
                <c:pt idx="959">
                  <c:v>40.037791657716753</c:v>
                </c:pt>
                <c:pt idx="960">
                  <c:v>40.018531877491796</c:v>
                </c:pt>
                <c:pt idx="961">
                  <c:v>39.983549113679487</c:v>
                </c:pt>
                <c:pt idx="962">
                  <c:v>39.977824021012793</c:v>
                </c:pt>
                <c:pt idx="963">
                  <c:v>39.961600498445023</c:v>
                </c:pt>
                <c:pt idx="964">
                  <c:v>39.688754066231809</c:v>
                </c:pt>
                <c:pt idx="965">
                  <c:v>39.649210701543211</c:v>
                </c:pt>
                <c:pt idx="966">
                  <c:v>39.561775665775826</c:v>
                </c:pt>
                <c:pt idx="967">
                  <c:v>39.542314299202985</c:v>
                </c:pt>
                <c:pt idx="968">
                  <c:v>39.510444564343743</c:v>
                </c:pt>
                <c:pt idx="969">
                  <c:v>39.483260671670337</c:v>
                </c:pt>
                <c:pt idx="970">
                  <c:v>39.431727983891051</c:v>
                </c:pt>
                <c:pt idx="971">
                  <c:v>39.419689764527789</c:v>
                </c:pt>
                <c:pt idx="972">
                  <c:v>39.362219673981599</c:v>
                </c:pt>
                <c:pt idx="973">
                  <c:v>39.312956776016108</c:v>
                </c:pt>
                <c:pt idx="974">
                  <c:v>39.298349814205721</c:v>
                </c:pt>
                <c:pt idx="975">
                  <c:v>39.218675477057559</c:v>
                </c:pt>
                <c:pt idx="976">
                  <c:v>39.188634186798367</c:v>
                </c:pt>
                <c:pt idx="977">
                  <c:v>39.177140253940365</c:v>
                </c:pt>
                <c:pt idx="978">
                  <c:v>39.174854591626058</c:v>
                </c:pt>
                <c:pt idx="979">
                  <c:v>39.11526740134093</c:v>
                </c:pt>
                <c:pt idx="980">
                  <c:v>38.969943656088276</c:v>
                </c:pt>
                <c:pt idx="981">
                  <c:v>38.943799013896637</c:v>
                </c:pt>
                <c:pt idx="982">
                  <c:v>38.853131282871004</c:v>
                </c:pt>
                <c:pt idx="983">
                  <c:v>38.836532462632022</c:v>
                </c:pt>
                <c:pt idx="984">
                  <c:v>38.831384253984083</c:v>
                </c:pt>
                <c:pt idx="985">
                  <c:v>38.791220257752798</c:v>
                </c:pt>
                <c:pt idx="986">
                  <c:v>38.768684034746684</c:v>
                </c:pt>
                <c:pt idx="987">
                  <c:v>38.637515182338007</c:v>
                </c:pt>
                <c:pt idx="988">
                  <c:v>38.591408634591971</c:v>
                </c:pt>
                <c:pt idx="989">
                  <c:v>38.559620819775319</c:v>
                </c:pt>
                <c:pt idx="990">
                  <c:v>38.525138594944565</c:v>
                </c:pt>
                <c:pt idx="991">
                  <c:v>38.442351228843677</c:v>
                </c:pt>
                <c:pt idx="992">
                  <c:v>38.359150392552465</c:v>
                </c:pt>
                <c:pt idx="993">
                  <c:v>38.343215525122901</c:v>
                </c:pt>
                <c:pt idx="994">
                  <c:v>38.29046944928109</c:v>
                </c:pt>
                <c:pt idx="995">
                  <c:v>38.241467331430385</c:v>
                </c:pt>
                <c:pt idx="996">
                  <c:v>38.235987146377738</c:v>
                </c:pt>
                <c:pt idx="997">
                  <c:v>38.068339061961751</c:v>
                </c:pt>
                <c:pt idx="998">
                  <c:v>38.067381305266508</c:v>
                </c:pt>
                <c:pt idx="999">
                  <c:v>38.042319661079091</c:v>
                </c:pt>
                <c:pt idx="1000">
                  <c:v>38.013933104096168</c:v>
                </c:pt>
                <c:pt idx="1001">
                  <c:v>38.005100131224367</c:v>
                </c:pt>
                <c:pt idx="1002">
                  <c:v>37.980365314693927</c:v>
                </c:pt>
                <c:pt idx="1003">
                  <c:v>37.962438588835994</c:v>
                </c:pt>
                <c:pt idx="1004">
                  <c:v>37.962063291163986</c:v>
                </c:pt>
                <c:pt idx="1005">
                  <c:v>37.875999482282282</c:v>
                </c:pt>
                <c:pt idx="1006">
                  <c:v>37.864875698348214</c:v>
                </c:pt>
                <c:pt idx="1007">
                  <c:v>37.859030513119251</c:v>
                </c:pt>
                <c:pt idx="1008">
                  <c:v>37.768934517365324</c:v>
                </c:pt>
                <c:pt idx="1009">
                  <c:v>37.695197582984292</c:v>
                </c:pt>
                <c:pt idx="1010">
                  <c:v>37.692046381512796</c:v>
                </c:pt>
                <c:pt idx="1011">
                  <c:v>37.670299352625875</c:v>
                </c:pt>
                <c:pt idx="1012">
                  <c:v>37.636143955452098</c:v>
                </c:pt>
                <c:pt idx="1013">
                  <c:v>37.617346541689017</c:v>
                </c:pt>
                <c:pt idx="1014">
                  <c:v>37.604034461726201</c:v>
                </c:pt>
                <c:pt idx="1015">
                  <c:v>37.556763422189647</c:v>
                </c:pt>
                <c:pt idx="1016">
                  <c:v>37.266616044408124</c:v>
                </c:pt>
                <c:pt idx="1017">
                  <c:v>37.254871628931596</c:v>
                </c:pt>
                <c:pt idx="1018">
                  <c:v>37.205902534851703</c:v>
                </c:pt>
                <c:pt idx="1019">
                  <c:v>37.203415286189625</c:v>
                </c:pt>
                <c:pt idx="1020">
                  <c:v>37.185820536736401</c:v>
                </c:pt>
                <c:pt idx="1021">
                  <c:v>37.182168796283349</c:v>
                </c:pt>
                <c:pt idx="1022">
                  <c:v>37.179970202759591</c:v>
                </c:pt>
                <c:pt idx="1023">
                  <c:v>37.103784192235594</c:v>
                </c:pt>
                <c:pt idx="1024">
                  <c:v>37.075435807771555</c:v>
                </c:pt>
                <c:pt idx="1025">
                  <c:v>36.958084723054412</c:v>
                </c:pt>
                <c:pt idx="1026">
                  <c:v>36.931613679462203</c:v>
                </c:pt>
                <c:pt idx="1027">
                  <c:v>36.838573217332168</c:v>
                </c:pt>
                <c:pt idx="1028">
                  <c:v>36.812760977801531</c:v>
                </c:pt>
                <c:pt idx="1029">
                  <c:v>36.808858754730068</c:v>
                </c:pt>
                <c:pt idx="1030">
                  <c:v>36.719725664419343</c:v>
                </c:pt>
                <c:pt idx="1031">
                  <c:v>36.701592203465793</c:v>
                </c:pt>
                <c:pt idx="1032">
                  <c:v>36.649471907914858</c:v>
                </c:pt>
                <c:pt idx="1033">
                  <c:v>36.637226953456889</c:v>
                </c:pt>
                <c:pt idx="1034">
                  <c:v>36.605357218597419</c:v>
                </c:pt>
                <c:pt idx="1035">
                  <c:v>36.556681928403464</c:v>
                </c:pt>
                <c:pt idx="1036">
                  <c:v>36.543239458383823</c:v>
                </c:pt>
                <c:pt idx="1037">
                  <c:v>36.531908939354253</c:v>
                </c:pt>
                <c:pt idx="1038">
                  <c:v>36.489829429732481</c:v>
                </c:pt>
                <c:pt idx="1039">
                  <c:v>36.461943411730658</c:v>
                </c:pt>
                <c:pt idx="1040">
                  <c:v>36.409120990851193</c:v>
                </c:pt>
                <c:pt idx="1041">
                  <c:v>36.282969957033174</c:v>
                </c:pt>
                <c:pt idx="1042">
                  <c:v>36.254790135145413</c:v>
                </c:pt>
                <c:pt idx="1043">
                  <c:v>36.242838984573382</c:v>
                </c:pt>
                <c:pt idx="1044">
                  <c:v>36.234501401934494</c:v>
                </c:pt>
                <c:pt idx="1045">
                  <c:v>36.171262471197451</c:v>
                </c:pt>
                <c:pt idx="1046">
                  <c:v>36.145123404009837</c:v>
                </c:pt>
                <c:pt idx="1047">
                  <c:v>36.122293377117785</c:v>
                </c:pt>
                <c:pt idx="1048">
                  <c:v>36.088431783829833</c:v>
                </c:pt>
                <c:pt idx="1049">
                  <c:v>36.056066658737222</c:v>
                </c:pt>
                <c:pt idx="1050">
                  <c:v>36.041955087159977</c:v>
                </c:pt>
                <c:pt idx="1051">
                  <c:v>36.011451430438797</c:v>
                </c:pt>
                <c:pt idx="1052">
                  <c:v>35.965306710173877</c:v>
                </c:pt>
                <c:pt idx="1053">
                  <c:v>35.909164525246297</c:v>
                </c:pt>
                <c:pt idx="1054">
                  <c:v>35.868037623572377</c:v>
                </c:pt>
                <c:pt idx="1055">
                  <c:v>35.756825527969681</c:v>
                </c:pt>
                <c:pt idx="1056">
                  <c:v>35.745206353802132</c:v>
                </c:pt>
                <c:pt idx="1057">
                  <c:v>35.741391199520876</c:v>
                </c:pt>
                <c:pt idx="1058">
                  <c:v>35.704003107089989</c:v>
                </c:pt>
                <c:pt idx="1059">
                  <c:v>35.699023461018328</c:v>
                </c:pt>
                <c:pt idx="1060">
                  <c:v>35.68026421977379</c:v>
                </c:pt>
                <c:pt idx="1061">
                  <c:v>35.631588929580289</c:v>
                </c:pt>
                <c:pt idx="1062">
                  <c:v>35.619490237679997</c:v>
                </c:pt>
                <c:pt idx="1063">
                  <c:v>35.61789597694144</c:v>
                </c:pt>
                <c:pt idx="1064">
                  <c:v>35.603887346654801</c:v>
                </c:pt>
                <c:pt idx="1065">
                  <c:v>35.559468129699553</c:v>
                </c:pt>
                <c:pt idx="1066">
                  <c:v>35.537481341945522</c:v>
                </c:pt>
                <c:pt idx="1067">
                  <c:v>35.513780627148549</c:v>
                </c:pt>
                <c:pt idx="1068">
                  <c:v>35.451907774549341</c:v>
                </c:pt>
                <c:pt idx="1069">
                  <c:v>35.446427589496466</c:v>
                </c:pt>
                <c:pt idx="1070">
                  <c:v>35.375716615277156</c:v>
                </c:pt>
                <c:pt idx="1071">
                  <c:v>35.327580036583868</c:v>
                </c:pt>
                <c:pt idx="1072">
                  <c:v>35.323764882302726</c:v>
                </c:pt>
                <c:pt idx="1073">
                  <c:v>35.295214911491257</c:v>
                </c:pt>
                <c:pt idx="1074">
                  <c:v>35.292020388752576</c:v>
                </c:pt>
                <c:pt idx="1075">
                  <c:v>35.180476316745171</c:v>
                </c:pt>
                <c:pt idx="1076">
                  <c:v>35.180144340340689</c:v>
                </c:pt>
                <c:pt idx="1077">
                  <c:v>35.175496670673738</c:v>
                </c:pt>
                <c:pt idx="1078">
                  <c:v>35.081394658043905</c:v>
                </c:pt>
                <c:pt idx="1079">
                  <c:v>35.070260150357399</c:v>
                </c:pt>
                <c:pt idx="1080">
                  <c:v>35.059675077923316</c:v>
                </c:pt>
                <c:pt idx="1081">
                  <c:v>35.034662330007336</c:v>
                </c:pt>
                <c:pt idx="1082">
                  <c:v>35.018139854805781</c:v>
                </c:pt>
                <c:pt idx="1083">
                  <c:v>35.004991188672193</c:v>
                </c:pt>
                <c:pt idx="1084">
                  <c:v>34.977513492112962</c:v>
                </c:pt>
                <c:pt idx="1085">
                  <c:v>34.946803100296506</c:v>
                </c:pt>
                <c:pt idx="1086">
                  <c:v>34.877088055292006</c:v>
                </c:pt>
                <c:pt idx="1087">
                  <c:v>34.834099685246315</c:v>
                </c:pt>
                <c:pt idx="1088">
                  <c:v>34.806006932149103</c:v>
                </c:pt>
                <c:pt idx="1089">
                  <c:v>34.765712545860765</c:v>
                </c:pt>
                <c:pt idx="1090">
                  <c:v>34.758240502379181</c:v>
                </c:pt>
                <c:pt idx="1091">
                  <c:v>34.728199212120217</c:v>
                </c:pt>
                <c:pt idx="1092">
                  <c:v>34.708237306566275</c:v>
                </c:pt>
                <c:pt idx="1093">
                  <c:v>34.648318139876551</c:v>
                </c:pt>
                <c:pt idx="1094">
                  <c:v>34.618108287041423</c:v>
                </c:pt>
                <c:pt idx="1095">
                  <c:v>34.544665156546216</c:v>
                </c:pt>
                <c:pt idx="1096">
                  <c:v>34.512746525415309</c:v>
                </c:pt>
                <c:pt idx="1097">
                  <c:v>34.479712298765207</c:v>
                </c:pt>
                <c:pt idx="1098">
                  <c:v>34.428549759909515</c:v>
                </c:pt>
                <c:pt idx="1099">
                  <c:v>34.386056780097078</c:v>
                </c:pt>
                <c:pt idx="1100">
                  <c:v>34.375640270239501</c:v>
                </c:pt>
                <c:pt idx="1101">
                  <c:v>34.370492061591221</c:v>
                </c:pt>
                <c:pt idx="1102">
                  <c:v>34.350039914552099</c:v>
                </c:pt>
                <c:pt idx="1103">
                  <c:v>34.305881903968043</c:v>
                </c:pt>
                <c:pt idx="1104">
                  <c:v>34.253636367107674</c:v>
                </c:pt>
                <c:pt idx="1105">
                  <c:v>34.198822087798931</c:v>
                </c:pt>
                <c:pt idx="1106">
                  <c:v>34.155871890272351</c:v>
                </c:pt>
                <c:pt idx="1107">
                  <c:v>34.122799491103706</c:v>
                </c:pt>
                <c:pt idx="1108">
                  <c:v>34.078189411553012</c:v>
                </c:pt>
                <c:pt idx="1109">
                  <c:v>33.969965103593495</c:v>
                </c:pt>
                <c:pt idx="1110">
                  <c:v>33.954857602801894</c:v>
                </c:pt>
                <c:pt idx="1111">
                  <c:v>33.942079085591217</c:v>
                </c:pt>
                <c:pt idx="1112">
                  <c:v>33.856886390871523</c:v>
                </c:pt>
                <c:pt idx="1113">
                  <c:v>33.848793715847364</c:v>
                </c:pt>
                <c:pt idx="1114">
                  <c:v>33.846801857418313</c:v>
                </c:pt>
                <c:pt idx="1115">
                  <c:v>33.799329231534443</c:v>
                </c:pt>
                <c:pt idx="1116">
                  <c:v>33.788003861252719</c:v>
                </c:pt>
                <c:pt idx="1117">
                  <c:v>33.700117182775784</c:v>
                </c:pt>
                <c:pt idx="1118">
                  <c:v>33.66122704714428</c:v>
                </c:pt>
                <c:pt idx="1119">
                  <c:v>33.644127687923856</c:v>
                </c:pt>
                <c:pt idx="1120">
                  <c:v>33.639441845737906</c:v>
                </c:pt>
                <c:pt idx="1121">
                  <c:v>33.604507978197603</c:v>
                </c:pt>
                <c:pt idx="1122">
                  <c:v>33.589683557539502</c:v>
                </c:pt>
                <c:pt idx="1123">
                  <c:v>33.554292472284828</c:v>
                </c:pt>
                <c:pt idx="1124">
                  <c:v>33.527772532420954</c:v>
                </c:pt>
                <c:pt idx="1125">
                  <c:v>33.49805806981874</c:v>
                </c:pt>
                <c:pt idx="1126">
                  <c:v>33.497355944490437</c:v>
                </c:pt>
                <c:pt idx="1127">
                  <c:v>33.486106919246936</c:v>
                </c:pt>
                <c:pt idx="1128">
                  <c:v>33.452707692420859</c:v>
                </c:pt>
                <c:pt idx="1129">
                  <c:v>33.38385818657332</c:v>
                </c:pt>
                <c:pt idx="1130">
                  <c:v>33.35929193261893</c:v>
                </c:pt>
                <c:pt idx="1131">
                  <c:v>33.277293760637576</c:v>
                </c:pt>
                <c:pt idx="1132">
                  <c:v>33.266507101856178</c:v>
                </c:pt>
                <c:pt idx="1133">
                  <c:v>33.251067624659754</c:v>
                </c:pt>
                <c:pt idx="1134">
                  <c:v>33.250071695445286</c:v>
                </c:pt>
                <c:pt idx="1135">
                  <c:v>33.237293178235063</c:v>
                </c:pt>
                <c:pt idx="1136">
                  <c:v>33.230485087563125</c:v>
                </c:pt>
                <c:pt idx="1137">
                  <c:v>33.219197889800284</c:v>
                </c:pt>
                <c:pt idx="1138">
                  <c:v>33.19396768303659</c:v>
                </c:pt>
                <c:pt idx="1139">
                  <c:v>33.15434797331045</c:v>
                </c:pt>
                <c:pt idx="1140">
                  <c:v>33.120562725060381</c:v>
                </c:pt>
                <c:pt idx="1141">
                  <c:v>33.119773530941416</c:v>
                </c:pt>
                <c:pt idx="1142">
                  <c:v>33.094831979315813</c:v>
                </c:pt>
                <c:pt idx="1143">
                  <c:v>33.080932291581917</c:v>
                </c:pt>
                <c:pt idx="1144">
                  <c:v>33.014036471643749</c:v>
                </c:pt>
                <c:pt idx="1145">
                  <c:v>32.955238475477927</c:v>
                </c:pt>
                <c:pt idx="1146">
                  <c:v>32.955162130440044</c:v>
                </c:pt>
                <c:pt idx="1147">
                  <c:v>32.928859649424226</c:v>
                </c:pt>
                <c:pt idx="1148">
                  <c:v>32.928386559209457</c:v>
                </c:pt>
                <c:pt idx="1149">
                  <c:v>32.903324915022267</c:v>
                </c:pt>
                <c:pt idx="1150">
                  <c:v>32.863536642719623</c:v>
                </c:pt>
                <c:pt idx="1151">
                  <c:v>32.842072693965633</c:v>
                </c:pt>
                <c:pt idx="1152">
                  <c:v>32.811035474492428</c:v>
                </c:pt>
                <c:pt idx="1153">
                  <c:v>32.799416300324651</c:v>
                </c:pt>
                <c:pt idx="1154">
                  <c:v>32.751404962940569</c:v>
                </c:pt>
                <c:pt idx="1155">
                  <c:v>32.714223605604843</c:v>
                </c:pt>
                <c:pt idx="1156">
                  <c:v>32.706256171889777</c:v>
                </c:pt>
                <c:pt idx="1157">
                  <c:v>32.69223681785104</c:v>
                </c:pt>
                <c:pt idx="1158">
                  <c:v>32.684383901693309</c:v>
                </c:pt>
                <c:pt idx="1159">
                  <c:v>32.651022847386457</c:v>
                </c:pt>
                <c:pt idx="1160">
                  <c:v>32.641558945475936</c:v>
                </c:pt>
                <c:pt idx="1161">
                  <c:v>32.623882702236529</c:v>
                </c:pt>
                <c:pt idx="1162">
                  <c:v>32.568665250233266</c:v>
                </c:pt>
                <c:pt idx="1163">
                  <c:v>32.558564844280227</c:v>
                </c:pt>
                <c:pt idx="1164">
                  <c:v>32.433371567157678</c:v>
                </c:pt>
                <c:pt idx="1165">
                  <c:v>32.432081834057499</c:v>
                </c:pt>
                <c:pt idx="1166">
                  <c:v>32.378633632887158</c:v>
                </c:pt>
                <c:pt idx="1167">
                  <c:v>32.369964073843789</c:v>
                </c:pt>
                <c:pt idx="1168">
                  <c:v>32.246468851264012</c:v>
                </c:pt>
                <c:pt idx="1169">
                  <c:v>32.220422001614907</c:v>
                </c:pt>
                <c:pt idx="1170">
                  <c:v>32.21779363914311</c:v>
                </c:pt>
                <c:pt idx="1171">
                  <c:v>32.117204788493495</c:v>
                </c:pt>
                <c:pt idx="1172">
                  <c:v>32.101601897468868</c:v>
                </c:pt>
                <c:pt idx="1173">
                  <c:v>32.096785665225411</c:v>
                </c:pt>
                <c:pt idx="1174">
                  <c:v>32.054292685413088</c:v>
                </c:pt>
                <c:pt idx="1175">
                  <c:v>32.04466536967459</c:v>
                </c:pt>
                <c:pt idx="1176">
                  <c:v>31.980555751031943</c:v>
                </c:pt>
                <c:pt idx="1177">
                  <c:v>31.918350922027912</c:v>
                </c:pt>
                <c:pt idx="1178">
                  <c:v>31.910840706027557</c:v>
                </c:pt>
                <c:pt idx="1179">
                  <c:v>31.896603893140764</c:v>
                </c:pt>
                <c:pt idx="1180">
                  <c:v>31.860750441424102</c:v>
                </c:pt>
                <c:pt idx="1181">
                  <c:v>31.859716339690749</c:v>
                </c:pt>
                <c:pt idx="1182">
                  <c:v>31.826888848136036</c:v>
                </c:pt>
                <c:pt idx="1183">
                  <c:v>31.826725434307491</c:v>
                </c:pt>
                <c:pt idx="1184">
                  <c:v>31.782213147300126</c:v>
                </c:pt>
                <c:pt idx="1185">
                  <c:v>31.766469142465326</c:v>
                </c:pt>
                <c:pt idx="1186">
                  <c:v>31.716100946476445</c:v>
                </c:pt>
                <c:pt idx="1187">
                  <c:v>31.712688964890503</c:v>
                </c:pt>
                <c:pt idx="1188">
                  <c:v>31.668661344363386</c:v>
                </c:pt>
                <c:pt idx="1189">
                  <c:v>31.66820412664913</c:v>
                </c:pt>
                <c:pt idx="1190">
                  <c:v>31.666380830796811</c:v>
                </c:pt>
                <c:pt idx="1191">
                  <c:v>31.641646014266485</c:v>
                </c:pt>
                <c:pt idx="1192">
                  <c:v>31.631022769313404</c:v>
                </c:pt>
                <c:pt idx="1193">
                  <c:v>31.596954440930062</c:v>
                </c:pt>
                <c:pt idx="1194">
                  <c:v>31.596829199620629</c:v>
                </c:pt>
                <c:pt idx="1195">
                  <c:v>31.58405068241052</c:v>
                </c:pt>
                <c:pt idx="1196">
                  <c:v>31.581062894767456</c:v>
                </c:pt>
                <c:pt idx="1197">
                  <c:v>31.515636094258412</c:v>
                </c:pt>
                <c:pt idx="1198">
                  <c:v>31.478150209284536</c:v>
                </c:pt>
                <c:pt idx="1199">
                  <c:v>31.450427605111145</c:v>
                </c:pt>
                <c:pt idx="1200">
                  <c:v>31.351335222656644</c:v>
                </c:pt>
                <c:pt idx="1201">
                  <c:v>31.342867249960932</c:v>
                </c:pt>
                <c:pt idx="1202">
                  <c:v>31.341707906918145</c:v>
                </c:pt>
                <c:pt idx="1203">
                  <c:v>31.33585757294145</c:v>
                </c:pt>
                <c:pt idx="1204">
                  <c:v>31.330916099388901</c:v>
                </c:pt>
                <c:pt idx="1205">
                  <c:v>31.32228471286453</c:v>
                </c:pt>
                <c:pt idx="1206">
                  <c:v>31.27261349345622</c:v>
                </c:pt>
                <c:pt idx="1207">
                  <c:v>31.270001003484708</c:v>
                </c:pt>
                <c:pt idx="1208">
                  <c:v>31.265810551532127</c:v>
                </c:pt>
                <c:pt idx="1209">
                  <c:v>31.212569085456948</c:v>
                </c:pt>
                <c:pt idx="1210">
                  <c:v>31.163599991377623</c:v>
                </c:pt>
                <c:pt idx="1211">
                  <c:v>31.157754806148773</c:v>
                </c:pt>
                <c:pt idx="1212">
                  <c:v>31.141983352547527</c:v>
                </c:pt>
                <c:pt idx="1213">
                  <c:v>30.974210026822448</c:v>
                </c:pt>
                <c:pt idx="1214">
                  <c:v>30.970226309964914</c:v>
                </c:pt>
                <c:pt idx="1215">
                  <c:v>30.91660954621841</c:v>
                </c:pt>
                <c:pt idx="1216">
                  <c:v>30.904288246722444</c:v>
                </c:pt>
                <c:pt idx="1217">
                  <c:v>30.884739811358941</c:v>
                </c:pt>
                <c:pt idx="1218">
                  <c:v>30.82324268268826</c:v>
                </c:pt>
                <c:pt idx="1219">
                  <c:v>30.808717214663375</c:v>
                </c:pt>
                <c:pt idx="1220">
                  <c:v>30.795356664686551</c:v>
                </c:pt>
                <c:pt idx="1221">
                  <c:v>30.760542463450861</c:v>
                </c:pt>
                <c:pt idx="1222">
                  <c:v>30.757685065865189</c:v>
                </c:pt>
                <c:pt idx="1223">
                  <c:v>30.669619101058743</c:v>
                </c:pt>
                <c:pt idx="1224">
                  <c:v>30.63937107570473</c:v>
                </c:pt>
                <c:pt idx="1225">
                  <c:v>30.609493199274084</c:v>
                </c:pt>
                <c:pt idx="1226">
                  <c:v>30.609161222869261</c:v>
                </c:pt>
                <c:pt idx="1227">
                  <c:v>30.600568008863661</c:v>
                </c:pt>
                <c:pt idx="1228">
                  <c:v>30.58509035914858</c:v>
                </c:pt>
                <c:pt idx="1229">
                  <c:v>30.582935086891212</c:v>
                </c:pt>
                <c:pt idx="1230">
                  <c:v>30.554091312194259</c:v>
                </c:pt>
                <c:pt idx="1231">
                  <c:v>30.552980865422796</c:v>
                </c:pt>
                <c:pt idx="1232">
                  <c:v>30.53413455538805</c:v>
                </c:pt>
                <c:pt idx="1233">
                  <c:v>30.53048281493534</c:v>
                </c:pt>
                <c:pt idx="1234">
                  <c:v>30.504958804286161</c:v>
                </c:pt>
                <c:pt idx="1235">
                  <c:v>30.478160933036861</c:v>
                </c:pt>
                <c:pt idx="1236">
                  <c:v>30.465545829655071</c:v>
                </c:pt>
                <c:pt idx="1237">
                  <c:v>30.308058623730176</c:v>
                </c:pt>
                <c:pt idx="1238">
                  <c:v>30.242327295582868</c:v>
                </c:pt>
                <c:pt idx="1239">
                  <c:v>30.217097088819401</c:v>
                </c:pt>
                <c:pt idx="1240">
                  <c:v>30.191573078170109</c:v>
                </c:pt>
                <c:pt idx="1241">
                  <c:v>30.160661100005996</c:v>
                </c:pt>
                <c:pt idx="1242">
                  <c:v>30.152900401386432</c:v>
                </c:pt>
                <c:pt idx="1243">
                  <c:v>30.152236448576673</c:v>
                </c:pt>
                <c:pt idx="1244">
                  <c:v>30.148377973029028</c:v>
                </c:pt>
                <c:pt idx="1245">
                  <c:v>30.130075949499087</c:v>
                </c:pt>
                <c:pt idx="1246">
                  <c:v>30.122853962379736</c:v>
                </c:pt>
                <c:pt idx="1247">
                  <c:v>30.107011312488453</c:v>
                </c:pt>
                <c:pt idx="1248">
                  <c:v>30.034139917264156</c:v>
                </c:pt>
                <c:pt idx="1249">
                  <c:v>30.001644402114493</c:v>
                </c:pt>
                <c:pt idx="1250">
                  <c:v>29.98441980158475</c:v>
                </c:pt>
                <c:pt idx="1251">
                  <c:v>29.962013968635574</c:v>
                </c:pt>
                <c:pt idx="1252">
                  <c:v>29.95749154027817</c:v>
                </c:pt>
                <c:pt idx="1253">
                  <c:v>29.943711945105633</c:v>
                </c:pt>
                <c:pt idx="1254">
                  <c:v>29.888772424487684</c:v>
                </c:pt>
                <c:pt idx="1255">
                  <c:v>29.853914901985604</c:v>
                </c:pt>
                <c:pt idx="1256">
                  <c:v>29.850927114342426</c:v>
                </c:pt>
                <c:pt idx="1257">
                  <c:v>29.830714726169617</c:v>
                </c:pt>
                <c:pt idx="1258">
                  <c:v>29.824243760650461</c:v>
                </c:pt>
                <c:pt idx="1259">
                  <c:v>29.779508866046854</c:v>
                </c:pt>
                <c:pt idx="1260">
                  <c:v>29.762991539593713</c:v>
                </c:pt>
                <c:pt idx="1261">
                  <c:v>29.757347940712521</c:v>
                </c:pt>
                <c:pt idx="1262">
                  <c:v>29.749712483402391</c:v>
                </c:pt>
                <c:pt idx="1263">
                  <c:v>29.70639213695199</c:v>
                </c:pt>
                <c:pt idx="1264">
                  <c:v>29.704449174794831</c:v>
                </c:pt>
                <c:pt idx="1265">
                  <c:v>29.69274293183696</c:v>
                </c:pt>
                <c:pt idx="1266">
                  <c:v>29.671948510896868</c:v>
                </c:pt>
                <c:pt idx="1267">
                  <c:v>29.644933180800081</c:v>
                </c:pt>
                <c:pt idx="1268">
                  <c:v>29.644062492895046</c:v>
                </c:pt>
                <c:pt idx="1269">
                  <c:v>29.624774837646555</c:v>
                </c:pt>
                <c:pt idx="1270">
                  <c:v>29.614227937731584</c:v>
                </c:pt>
                <c:pt idx="1271">
                  <c:v>29.552110177517761</c:v>
                </c:pt>
                <c:pt idx="1272">
                  <c:v>29.544883041650564</c:v>
                </c:pt>
                <c:pt idx="1273">
                  <c:v>29.510858034534181</c:v>
                </c:pt>
                <c:pt idx="1274">
                  <c:v>29.507331535390904</c:v>
                </c:pt>
                <c:pt idx="1275">
                  <c:v>29.46035944848802</c:v>
                </c:pt>
                <c:pt idx="1276">
                  <c:v>29.449235664553726</c:v>
                </c:pt>
                <c:pt idx="1277">
                  <c:v>29.440892933167447</c:v>
                </c:pt>
                <c:pt idx="1278">
                  <c:v>29.426699441547271</c:v>
                </c:pt>
                <c:pt idx="1279">
                  <c:v>29.409273254670552</c:v>
                </c:pt>
                <c:pt idx="1280">
                  <c:v>29.342170699637336</c:v>
                </c:pt>
                <c:pt idx="1281">
                  <c:v>29.311008238854129</c:v>
                </c:pt>
                <c:pt idx="1282">
                  <c:v>29.295530589138593</c:v>
                </c:pt>
                <c:pt idx="1283">
                  <c:v>29.295405347829615</c:v>
                </c:pt>
                <c:pt idx="1284">
                  <c:v>29.270338554894465</c:v>
                </c:pt>
                <c:pt idx="1285">
                  <c:v>29.17050587459255</c:v>
                </c:pt>
                <c:pt idx="1286">
                  <c:v>29.16568964234898</c:v>
                </c:pt>
                <c:pt idx="1287">
                  <c:v>29.161999729377499</c:v>
                </c:pt>
                <c:pt idx="1288">
                  <c:v>29.124742027003776</c:v>
                </c:pt>
                <c:pt idx="1289">
                  <c:v>29.109460388631192</c:v>
                </c:pt>
                <c:pt idx="1290">
                  <c:v>29.093231717315803</c:v>
                </c:pt>
                <c:pt idx="1291">
                  <c:v>29.073106397933202</c:v>
                </c:pt>
                <c:pt idx="1292">
                  <c:v>29.072148641238186</c:v>
                </c:pt>
                <c:pt idx="1293">
                  <c:v>29.071114539504833</c:v>
                </c:pt>
                <c:pt idx="1294">
                  <c:v>29.030319614235509</c:v>
                </c:pt>
                <c:pt idx="1295">
                  <c:v>29.002433596233459</c:v>
                </c:pt>
                <c:pt idx="1296">
                  <c:v>28.989655079023123</c:v>
                </c:pt>
                <c:pt idx="1297">
                  <c:v>28.980000314517952</c:v>
                </c:pt>
                <c:pt idx="1298">
                  <c:v>28.905496486036668</c:v>
                </c:pt>
                <c:pt idx="1299">
                  <c:v>28.855286555128373</c:v>
                </c:pt>
                <c:pt idx="1300">
                  <c:v>28.848690348299556</c:v>
                </c:pt>
                <c:pt idx="1301">
                  <c:v>28.844206092461263</c:v>
                </c:pt>
                <c:pt idx="1302">
                  <c:v>28.83495407439375</c:v>
                </c:pt>
                <c:pt idx="1303">
                  <c:v>28.830306404726912</c:v>
                </c:pt>
                <c:pt idx="1304">
                  <c:v>28.82827637377909</c:v>
                </c:pt>
                <c:pt idx="1305">
                  <c:v>28.794948343243618</c:v>
                </c:pt>
                <c:pt idx="1306">
                  <c:v>28.792586335891087</c:v>
                </c:pt>
                <c:pt idx="1307">
                  <c:v>28.792216186967153</c:v>
                </c:pt>
                <c:pt idx="1308">
                  <c:v>28.786278784200476</c:v>
                </c:pt>
                <c:pt idx="1309">
                  <c:v>28.764575076579717</c:v>
                </c:pt>
                <c:pt idx="1310">
                  <c:v>28.721875361672005</c:v>
                </c:pt>
                <c:pt idx="1311">
                  <c:v>28.707143158551958</c:v>
                </c:pt>
                <c:pt idx="1312">
                  <c:v>28.66229889513977</c:v>
                </c:pt>
                <c:pt idx="1313">
                  <c:v>28.645226984685905</c:v>
                </c:pt>
                <c:pt idx="1314">
                  <c:v>28.637885331261714</c:v>
                </c:pt>
                <c:pt idx="1315">
                  <c:v>28.601906638235278</c:v>
                </c:pt>
                <c:pt idx="1316">
                  <c:v>28.572115830595521</c:v>
                </c:pt>
                <c:pt idx="1317">
                  <c:v>28.554395839832182</c:v>
                </c:pt>
                <c:pt idx="1318">
                  <c:v>28.485671575294418</c:v>
                </c:pt>
                <c:pt idx="1319">
                  <c:v>28.472931230603081</c:v>
                </c:pt>
                <c:pt idx="1320">
                  <c:v>28.44319446798238</c:v>
                </c:pt>
                <c:pt idx="1321">
                  <c:v>28.438291166948602</c:v>
                </c:pt>
                <c:pt idx="1322">
                  <c:v>28.42774426703329</c:v>
                </c:pt>
                <c:pt idx="1323">
                  <c:v>28.406296190779585</c:v>
                </c:pt>
                <c:pt idx="1324">
                  <c:v>28.399858249031581</c:v>
                </c:pt>
                <c:pt idx="1325">
                  <c:v>28.392848572011985</c:v>
                </c:pt>
                <c:pt idx="1326">
                  <c:v>28.385251287220967</c:v>
                </c:pt>
                <c:pt idx="1327">
                  <c:v>28.372929987725001</c:v>
                </c:pt>
                <c:pt idx="1328">
                  <c:v>28.350225202142383</c:v>
                </c:pt>
                <c:pt idx="1329">
                  <c:v>28.337403363665317</c:v>
                </c:pt>
                <c:pt idx="1330">
                  <c:v>28.305533628806302</c:v>
                </c:pt>
                <c:pt idx="1331">
                  <c:v>28.281631327661785</c:v>
                </c:pt>
                <c:pt idx="1332">
                  <c:v>28.278061080994917</c:v>
                </c:pt>
                <c:pt idx="1333">
                  <c:v>28.26690427328947</c:v>
                </c:pt>
                <c:pt idx="1334">
                  <c:v>28.263954658165289</c:v>
                </c:pt>
                <c:pt idx="1335">
                  <c:v>28.248515180968866</c:v>
                </c:pt>
                <c:pt idx="1336">
                  <c:v>28.106020958278805</c:v>
                </c:pt>
                <c:pt idx="1337">
                  <c:v>28.097095767868268</c:v>
                </c:pt>
                <c:pt idx="1338">
                  <c:v>28.073563615647686</c:v>
                </c:pt>
                <c:pt idx="1339">
                  <c:v>28.058793240008754</c:v>
                </c:pt>
                <c:pt idx="1340">
                  <c:v>28.058216355989543</c:v>
                </c:pt>
                <c:pt idx="1341">
                  <c:v>28.05497293697988</c:v>
                </c:pt>
                <c:pt idx="1342">
                  <c:v>28.042281488559979</c:v>
                </c:pt>
                <c:pt idx="1343">
                  <c:v>28.028376652078123</c:v>
                </c:pt>
                <c:pt idx="1344">
                  <c:v>28.0275441366922</c:v>
                </c:pt>
                <c:pt idx="1345">
                  <c:v>28.027255481554221</c:v>
                </c:pt>
                <c:pt idx="1346">
                  <c:v>27.988386793427935</c:v>
                </c:pt>
                <c:pt idx="1347">
                  <c:v>27.975755817546087</c:v>
                </c:pt>
                <c:pt idx="1348">
                  <c:v>27.955837233258876</c:v>
                </c:pt>
                <c:pt idx="1349">
                  <c:v>27.942269521929688</c:v>
                </c:pt>
                <c:pt idx="1350">
                  <c:v>27.866078362657618</c:v>
                </c:pt>
                <c:pt idx="1351">
                  <c:v>27.845457653042217</c:v>
                </c:pt>
                <c:pt idx="1352">
                  <c:v>27.844972986561402</c:v>
                </c:pt>
                <c:pt idx="1353">
                  <c:v>27.831144495117428</c:v>
                </c:pt>
                <c:pt idx="1354">
                  <c:v>27.828897005321892</c:v>
                </c:pt>
                <c:pt idx="1355">
                  <c:v>27.811775346082982</c:v>
                </c:pt>
                <c:pt idx="1356">
                  <c:v>27.807569021630343</c:v>
                </c:pt>
                <c:pt idx="1357">
                  <c:v>27.77727724875183</c:v>
                </c:pt>
                <c:pt idx="1358">
                  <c:v>27.775949343132879</c:v>
                </c:pt>
                <c:pt idx="1359">
                  <c:v>27.743502724254427</c:v>
                </c:pt>
                <c:pt idx="1360">
                  <c:v>27.738229274297055</c:v>
                </c:pt>
                <c:pt idx="1361">
                  <c:v>27.709717476004471</c:v>
                </c:pt>
                <c:pt idx="1362">
                  <c:v>27.680090082192692</c:v>
                </c:pt>
                <c:pt idx="1363">
                  <c:v>27.658261133262954</c:v>
                </c:pt>
                <c:pt idx="1364">
                  <c:v>27.650462262124279</c:v>
                </c:pt>
                <c:pt idx="1365">
                  <c:v>27.624029391051067</c:v>
                </c:pt>
                <c:pt idx="1366">
                  <c:v>27.620334329331854</c:v>
                </c:pt>
                <c:pt idx="1367">
                  <c:v>27.605977423883473</c:v>
                </c:pt>
                <c:pt idx="1368">
                  <c:v>27.585188151691568</c:v>
                </c:pt>
                <c:pt idx="1369">
                  <c:v>27.580757940872331</c:v>
                </c:pt>
                <c:pt idx="1370">
                  <c:v>27.563647857899468</c:v>
                </c:pt>
                <c:pt idx="1371">
                  <c:v>27.560251748813471</c:v>
                </c:pt>
                <c:pt idx="1372">
                  <c:v>27.559293992118342</c:v>
                </c:pt>
                <c:pt idx="1373">
                  <c:v>27.551201317094183</c:v>
                </c:pt>
                <c:pt idx="1374">
                  <c:v>27.499908388180984</c:v>
                </c:pt>
                <c:pt idx="1375">
                  <c:v>27.49555452239963</c:v>
                </c:pt>
                <c:pt idx="1376">
                  <c:v>27.489578947113614</c:v>
                </c:pt>
                <c:pt idx="1377">
                  <c:v>27.483973520751078</c:v>
                </c:pt>
                <c:pt idx="1378">
                  <c:v>27.44774992011105</c:v>
                </c:pt>
                <c:pt idx="1379">
                  <c:v>27.435466793133855</c:v>
                </c:pt>
                <c:pt idx="1380">
                  <c:v>27.41683794194671</c:v>
                </c:pt>
                <c:pt idx="1381">
                  <c:v>27.412854225089518</c:v>
                </c:pt>
                <c:pt idx="1382">
                  <c:v>27.373185619091714</c:v>
                </c:pt>
                <c:pt idx="1383">
                  <c:v>27.368918822101023</c:v>
                </c:pt>
                <c:pt idx="1384">
                  <c:v>27.365626506819808</c:v>
                </c:pt>
                <c:pt idx="1385">
                  <c:v>27.335748630389503</c:v>
                </c:pt>
                <c:pt idx="1386">
                  <c:v>27.334545966079645</c:v>
                </c:pt>
                <c:pt idx="1387">
                  <c:v>27.334377403503254</c:v>
                </c:pt>
                <c:pt idx="1388">
                  <c:v>27.321228737369324</c:v>
                </c:pt>
                <c:pt idx="1389">
                  <c:v>27.311345790263772</c:v>
                </c:pt>
                <c:pt idx="1390">
                  <c:v>27.308026026215771</c:v>
                </c:pt>
                <c:pt idx="1391">
                  <c:v>27.301636980738863</c:v>
                </c:pt>
                <c:pt idx="1392">
                  <c:v>27.269440418222871</c:v>
                </c:pt>
                <c:pt idx="1393">
                  <c:v>27.268482661527628</c:v>
                </c:pt>
                <c:pt idx="1394">
                  <c:v>27.26267050006993</c:v>
                </c:pt>
                <c:pt idx="1395">
                  <c:v>27.251094647169225</c:v>
                </c:pt>
                <c:pt idx="1396">
                  <c:v>27.24760632054506</c:v>
                </c:pt>
                <c:pt idx="1397">
                  <c:v>27.230305374977206</c:v>
                </c:pt>
                <c:pt idx="1398">
                  <c:v>27.206201487485487</c:v>
                </c:pt>
                <c:pt idx="1399">
                  <c:v>27.185782364217289</c:v>
                </c:pt>
                <c:pt idx="1400">
                  <c:v>27.181798647360097</c:v>
                </c:pt>
                <c:pt idx="1401">
                  <c:v>27.16225021199682</c:v>
                </c:pt>
                <c:pt idx="1402">
                  <c:v>27.156481371805853</c:v>
                </c:pt>
                <c:pt idx="1403">
                  <c:v>27.129259306613562</c:v>
                </c:pt>
                <c:pt idx="1404">
                  <c:v>27.125107027179865</c:v>
                </c:pt>
                <c:pt idx="1405">
                  <c:v>27.070254575352465</c:v>
                </c:pt>
                <c:pt idx="1406">
                  <c:v>27.069808081390761</c:v>
                </c:pt>
                <c:pt idx="1407">
                  <c:v>27.045394517512591</c:v>
                </c:pt>
                <c:pt idx="1408">
                  <c:v>27.039293700916801</c:v>
                </c:pt>
                <c:pt idx="1409">
                  <c:v>27.011369510396094</c:v>
                </c:pt>
                <c:pt idx="1410">
                  <c:v>27.001611804600088</c:v>
                </c:pt>
                <c:pt idx="1411">
                  <c:v>26.985638764651753</c:v>
                </c:pt>
                <c:pt idx="1412">
                  <c:v>26.985513523341979</c:v>
                </c:pt>
                <c:pt idx="1413">
                  <c:v>26.980365314693927</c:v>
                </c:pt>
                <c:pt idx="1414">
                  <c:v>26.951445194958978</c:v>
                </c:pt>
                <c:pt idx="1415">
                  <c:v>26.939200240500782</c:v>
                </c:pt>
                <c:pt idx="1416">
                  <c:v>26.937834162362947</c:v>
                </c:pt>
                <c:pt idx="1417">
                  <c:v>26.935135029857634</c:v>
                </c:pt>
                <c:pt idx="1418">
                  <c:v>26.879362993853761</c:v>
                </c:pt>
                <c:pt idx="1419">
                  <c:v>26.837539115598929</c:v>
                </c:pt>
                <c:pt idx="1420">
                  <c:v>26.817364899945119</c:v>
                </c:pt>
                <c:pt idx="1421">
                  <c:v>26.811557887235267</c:v>
                </c:pt>
                <c:pt idx="1422">
                  <c:v>26.759230856588943</c:v>
                </c:pt>
                <c:pt idx="1423">
                  <c:v>26.751927375683636</c:v>
                </c:pt>
                <c:pt idx="1424">
                  <c:v>26.71345628524773</c:v>
                </c:pt>
                <c:pt idx="1425">
                  <c:v>26.690843717203279</c:v>
                </c:pt>
                <c:pt idx="1426">
                  <c:v>26.673123726440394</c:v>
                </c:pt>
                <c:pt idx="1427">
                  <c:v>26.667480127558974</c:v>
                </c:pt>
                <c:pt idx="1428">
                  <c:v>26.644323699266693</c:v>
                </c:pt>
                <c:pt idx="1429">
                  <c:v>26.601210087911568</c:v>
                </c:pt>
                <c:pt idx="1430">
                  <c:v>26.578178474671972</c:v>
                </c:pt>
                <c:pt idx="1431">
                  <c:v>26.567348494623729</c:v>
                </c:pt>
                <c:pt idx="1432">
                  <c:v>26.534814806954842</c:v>
                </c:pt>
                <c:pt idx="1433">
                  <c:v>26.479706723760728</c:v>
                </c:pt>
                <c:pt idx="1434">
                  <c:v>26.45368732287784</c:v>
                </c:pt>
                <c:pt idx="1435">
                  <c:v>26.447543185015661</c:v>
                </c:pt>
                <c:pt idx="1436">
                  <c:v>26.444849201258194</c:v>
                </c:pt>
                <c:pt idx="1437">
                  <c:v>26.436549791138646</c:v>
                </c:pt>
                <c:pt idx="1438">
                  <c:v>26.411025780489354</c:v>
                </c:pt>
                <c:pt idx="1439">
                  <c:v>26.377087842163064</c:v>
                </c:pt>
                <c:pt idx="1440">
                  <c:v>26.361479802390932</c:v>
                </c:pt>
                <c:pt idx="1441">
                  <c:v>26.34828223998511</c:v>
                </c:pt>
                <c:pt idx="1442">
                  <c:v>26.326001648345482</c:v>
                </c:pt>
                <c:pt idx="1443">
                  <c:v>26.233674035296872</c:v>
                </c:pt>
                <c:pt idx="1444">
                  <c:v>26.190430033884127</c:v>
                </c:pt>
                <c:pt idx="1445">
                  <c:v>26.176318462306995</c:v>
                </c:pt>
                <c:pt idx="1446">
                  <c:v>26.173994627473576</c:v>
                </c:pt>
                <c:pt idx="1447">
                  <c:v>26.156067901615188</c:v>
                </c:pt>
                <c:pt idx="1448">
                  <c:v>26.146277172048144</c:v>
                </c:pt>
                <c:pt idx="1449">
                  <c:v>26.113868725688576</c:v>
                </c:pt>
                <c:pt idx="1450">
                  <c:v>26.10822512680727</c:v>
                </c:pt>
                <c:pt idx="1451">
                  <c:v>26.091294330163237</c:v>
                </c:pt>
                <c:pt idx="1452">
                  <c:v>26.082701116157978</c:v>
                </c:pt>
                <c:pt idx="1453">
                  <c:v>26.077351321162269</c:v>
                </c:pt>
                <c:pt idx="1454">
                  <c:v>25.988713621085139</c:v>
                </c:pt>
                <c:pt idx="1455">
                  <c:v>25.983440171127199</c:v>
                </c:pt>
                <c:pt idx="1456">
                  <c:v>25.974438635679121</c:v>
                </c:pt>
                <c:pt idx="1457">
                  <c:v>25.973774682869816</c:v>
                </c:pt>
                <c:pt idx="1458">
                  <c:v>25.944930908172751</c:v>
                </c:pt>
                <c:pt idx="1459">
                  <c:v>25.901403826626847</c:v>
                </c:pt>
                <c:pt idx="1460">
                  <c:v>25.898084062579301</c:v>
                </c:pt>
                <c:pt idx="1461">
                  <c:v>25.894100345721654</c:v>
                </c:pt>
                <c:pt idx="1462">
                  <c:v>25.880364071815961</c:v>
                </c:pt>
                <c:pt idx="1463">
                  <c:v>25.868870138957959</c:v>
                </c:pt>
                <c:pt idx="1464">
                  <c:v>25.798033923429443</c:v>
                </c:pt>
                <c:pt idx="1465">
                  <c:v>25.790523707428861</c:v>
                </c:pt>
                <c:pt idx="1466">
                  <c:v>25.786539990571555</c:v>
                </c:pt>
                <c:pt idx="1467">
                  <c:v>25.786376576743123</c:v>
                </c:pt>
                <c:pt idx="1468">
                  <c:v>25.782479928676139</c:v>
                </c:pt>
                <c:pt idx="1469">
                  <c:v>25.775546596694653</c:v>
                </c:pt>
                <c:pt idx="1470">
                  <c:v>25.759524660474312</c:v>
                </c:pt>
                <c:pt idx="1471">
                  <c:v>25.734294453711072</c:v>
                </c:pt>
                <c:pt idx="1472">
                  <c:v>25.727741994405847</c:v>
                </c:pt>
                <c:pt idx="1473">
                  <c:v>25.725995043591638</c:v>
                </c:pt>
                <c:pt idx="1474">
                  <c:v>25.696906361280071</c:v>
                </c:pt>
                <c:pt idx="1475">
                  <c:v>25.623207599417697</c:v>
                </c:pt>
                <c:pt idx="1476">
                  <c:v>25.623207599417697</c:v>
                </c:pt>
                <c:pt idx="1477">
                  <c:v>25.612541033197886</c:v>
                </c:pt>
                <c:pt idx="1478">
                  <c:v>25.587354147700921</c:v>
                </c:pt>
                <c:pt idx="1479">
                  <c:v>25.575609732224052</c:v>
                </c:pt>
                <c:pt idx="1480">
                  <c:v>25.568393320109408</c:v>
                </c:pt>
                <c:pt idx="1481">
                  <c:v>25.560425886394455</c:v>
                </c:pt>
                <c:pt idx="1482">
                  <c:v>25.544491018965232</c:v>
                </c:pt>
                <c:pt idx="1483">
                  <c:v>25.540915623550518</c:v>
                </c:pt>
                <c:pt idx="1484">
                  <c:v>25.538591788716872</c:v>
                </c:pt>
                <c:pt idx="1485">
                  <c:v>25.53291001731634</c:v>
                </c:pt>
                <c:pt idx="1486">
                  <c:v>25.520501649029939</c:v>
                </c:pt>
                <c:pt idx="1487">
                  <c:v>25.514689487572355</c:v>
                </c:pt>
                <c:pt idx="1488">
                  <c:v>25.509546427672149</c:v>
                </c:pt>
                <c:pt idx="1489">
                  <c:v>25.494863120823766</c:v>
                </c:pt>
                <c:pt idx="1490">
                  <c:v>25.494068777956841</c:v>
                </c:pt>
                <c:pt idx="1491">
                  <c:v>25.471162406026679</c:v>
                </c:pt>
                <c:pt idx="1492">
                  <c:v>25.438998867281839</c:v>
                </c:pt>
                <c:pt idx="1493">
                  <c:v>25.436675032447965</c:v>
                </c:pt>
                <c:pt idx="1494">
                  <c:v>25.430367480757468</c:v>
                </c:pt>
                <c:pt idx="1495">
                  <c:v>25.429463769081508</c:v>
                </c:pt>
                <c:pt idx="1496">
                  <c:v>25.419042110475743</c:v>
                </c:pt>
                <c:pt idx="1497">
                  <c:v>25.405387756612754</c:v>
                </c:pt>
                <c:pt idx="1498">
                  <c:v>25.401404039755334</c:v>
                </c:pt>
                <c:pt idx="1499">
                  <c:v>25.395177981849997</c:v>
                </c:pt>
                <c:pt idx="1500">
                  <c:v>25.387210548135386</c:v>
                </c:pt>
                <c:pt idx="1501">
                  <c:v>25.377583232396773</c:v>
                </c:pt>
                <c:pt idx="1502">
                  <c:v>25.373191194096535</c:v>
                </c:pt>
                <c:pt idx="1503">
                  <c:v>25.348331136256661</c:v>
                </c:pt>
                <c:pt idx="1504">
                  <c:v>25.331438512131854</c:v>
                </c:pt>
                <c:pt idx="1505">
                  <c:v>25.31774598574998</c:v>
                </c:pt>
                <c:pt idx="1506">
                  <c:v>25.301811118320188</c:v>
                </c:pt>
                <c:pt idx="1507">
                  <c:v>25.270191439822838</c:v>
                </c:pt>
                <c:pt idx="1508">
                  <c:v>25.233467300201482</c:v>
                </c:pt>
                <c:pt idx="1509">
                  <c:v>25.228694389224984</c:v>
                </c:pt>
                <c:pt idx="1510">
                  <c:v>25.224835913676884</c:v>
                </c:pt>
                <c:pt idx="1511">
                  <c:v>25.206577211414015</c:v>
                </c:pt>
                <c:pt idx="1512">
                  <c:v>25.2049173293899</c:v>
                </c:pt>
                <c:pt idx="1513">
                  <c:v>25.169575140406891</c:v>
                </c:pt>
                <c:pt idx="1514">
                  <c:v>25.153129010243561</c:v>
                </c:pt>
                <c:pt idx="1515">
                  <c:v>25.113291841669479</c:v>
                </c:pt>
                <c:pt idx="1516">
                  <c:v>25.089427713044188</c:v>
                </c:pt>
                <c:pt idx="1517">
                  <c:v>25.062461279218383</c:v>
                </c:pt>
                <c:pt idx="1518">
                  <c:v>25.053372674979869</c:v>
                </c:pt>
                <c:pt idx="1519">
                  <c:v>25.039799814902835</c:v>
                </c:pt>
                <c:pt idx="1520">
                  <c:v>25.039799814902835</c:v>
                </c:pt>
                <c:pt idx="1521">
                  <c:v>25.026934655158811</c:v>
                </c:pt>
                <c:pt idx="1522">
                  <c:v>25.011870475634055</c:v>
                </c:pt>
                <c:pt idx="1523">
                  <c:v>24.965932490464411</c:v>
                </c:pt>
                <c:pt idx="1524">
                  <c:v>24.962242577492702</c:v>
                </c:pt>
                <c:pt idx="1525">
                  <c:v>24.95888464092593</c:v>
                </c:pt>
                <c:pt idx="1526">
                  <c:v>24.944315851634428</c:v>
                </c:pt>
                <c:pt idx="1527">
                  <c:v>24.915765880823187</c:v>
                </c:pt>
                <c:pt idx="1528">
                  <c:v>24.908005182203738</c:v>
                </c:pt>
                <c:pt idx="1529">
                  <c:v>24.885430786677944</c:v>
                </c:pt>
                <c:pt idx="1530">
                  <c:v>24.873604877415573</c:v>
                </c:pt>
                <c:pt idx="1531">
                  <c:v>24.870987238696102</c:v>
                </c:pt>
                <c:pt idx="1532">
                  <c:v>24.83911750383686</c:v>
                </c:pt>
                <c:pt idx="1533">
                  <c:v>24.829326774269816</c:v>
                </c:pt>
                <c:pt idx="1534">
                  <c:v>24.827421984631314</c:v>
                </c:pt>
                <c:pt idx="1535">
                  <c:v>24.806545643649201</c:v>
                </c:pt>
                <c:pt idx="1536">
                  <c:v>24.805587886953731</c:v>
                </c:pt>
                <c:pt idx="1537">
                  <c:v>24.789653019524167</c:v>
                </c:pt>
                <c:pt idx="1538">
                  <c:v>24.787584816057461</c:v>
                </c:pt>
                <c:pt idx="1539">
                  <c:v>24.775339861599377</c:v>
                </c:pt>
                <c:pt idx="1540">
                  <c:v>24.764880030474728</c:v>
                </c:pt>
                <c:pt idx="1541">
                  <c:v>24.76176700152223</c:v>
                </c:pt>
                <c:pt idx="1542">
                  <c:v>24.745630547745236</c:v>
                </c:pt>
                <c:pt idx="1543">
                  <c:v>24.7243947815914</c:v>
                </c:pt>
                <c:pt idx="1544">
                  <c:v>24.721929832948376</c:v>
                </c:pt>
                <c:pt idx="1545">
                  <c:v>24.709978682375777</c:v>
                </c:pt>
                <c:pt idx="1546">
                  <c:v>24.702179811237329</c:v>
                </c:pt>
                <c:pt idx="1547">
                  <c:v>24.694838157813138</c:v>
                </c:pt>
                <c:pt idx="1548">
                  <c:v>24.68371437387907</c:v>
                </c:pt>
                <c:pt idx="1549">
                  <c:v>24.674751010949763</c:v>
                </c:pt>
                <c:pt idx="1550">
                  <c:v>24.667115553639974</c:v>
                </c:pt>
                <c:pt idx="1551">
                  <c:v>24.635245818780504</c:v>
                </c:pt>
                <c:pt idx="1552">
                  <c:v>24.633917913161554</c:v>
                </c:pt>
                <c:pt idx="1553">
                  <c:v>24.618353194655583</c:v>
                </c:pt>
                <c:pt idx="1554">
                  <c:v>24.594619456087344</c:v>
                </c:pt>
                <c:pt idx="1555">
                  <c:v>24.574532309223969</c:v>
                </c:pt>
                <c:pt idx="1556">
                  <c:v>24.572464105757263</c:v>
                </c:pt>
                <c:pt idx="1557">
                  <c:v>24.561710470747244</c:v>
                </c:pt>
                <c:pt idx="1558">
                  <c:v>24.536648826559599</c:v>
                </c:pt>
                <c:pt idx="1559">
                  <c:v>24.536355022674002</c:v>
                </c:pt>
                <c:pt idx="1560">
                  <c:v>24.520713959130148</c:v>
                </c:pt>
                <c:pt idx="1561">
                  <c:v>24.52067578661115</c:v>
                </c:pt>
                <c:pt idx="1562">
                  <c:v>24.518760273220209</c:v>
                </c:pt>
                <c:pt idx="1563">
                  <c:v>24.515570899229829</c:v>
                </c:pt>
                <c:pt idx="1564">
                  <c:v>24.478095738008165</c:v>
                </c:pt>
                <c:pt idx="1565">
                  <c:v>24.470754084583973</c:v>
                </c:pt>
                <c:pt idx="1566">
                  <c:v>24.449877743601519</c:v>
                </c:pt>
                <c:pt idx="1567">
                  <c:v>24.443069652929694</c:v>
                </c:pt>
                <c:pt idx="1568">
                  <c:v>24.39423094890742</c:v>
                </c:pt>
                <c:pt idx="1569">
                  <c:v>24.363395315781304</c:v>
                </c:pt>
                <c:pt idx="1570">
                  <c:v>24.349746110666274</c:v>
                </c:pt>
                <c:pt idx="1571">
                  <c:v>24.323062756974309</c:v>
                </c:pt>
                <c:pt idx="1572">
                  <c:v>24.315590713492497</c:v>
                </c:pt>
                <c:pt idx="1573">
                  <c:v>24.309783700782759</c:v>
                </c:pt>
                <c:pt idx="1574">
                  <c:v>24.303144172687212</c:v>
                </c:pt>
                <c:pt idx="1575">
                  <c:v>24.298420157982264</c:v>
                </c:pt>
                <c:pt idx="1576">
                  <c:v>24.287666522971676</c:v>
                </c:pt>
                <c:pt idx="1577">
                  <c:v>24.221897022305598</c:v>
                </c:pt>
                <c:pt idx="1578">
                  <c:v>24.219110821010077</c:v>
                </c:pt>
                <c:pt idx="1579">
                  <c:v>24.167197260554076</c:v>
                </c:pt>
                <c:pt idx="1580">
                  <c:v>24.162141269444191</c:v>
                </c:pt>
                <c:pt idx="1581">
                  <c:v>24.110679777954942</c:v>
                </c:pt>
                <c:pt idx="1582">
                  <c:v>24.093792302577754</c:v>
                </c:pt>
                <c:pt idx="1583">
                  <c:v>24.072583985190477</c:v>
                </c:pt>
                <c:pt idx="1584">
                  <c:v>24.066858892523328</c:v>
                </c:pt>
                <c:pt idx="1585">
                  <c:v>24.042042155950412</c:v>
                </c:pt>
                <c:pt idx="1586">
                  <c:v>24.038972874521505</c:v>
                </c:pt>
                <c:pt idx="1587">
                  <c:v>24.007103139662377</c:v>
                </c:pt>
                <c:pt idx="1588">
                  <c:v>24.000011542600305</c:v>
                </c:pt>
                <c:pt idx="1589">
                  <c:v>23.985899971022718</c:v>
                </c:pt>
                <c:pt idx="1590">
                  <c:v>23.984572065403654</c:v>
                </c:pt>
                <c:pt idx="1591">
                  <c:v>23.955314820516151</c:v>
                </c:pt>
                <c:pt idx="1592">
                  <c:v>23.945605584734722</c:v>
                </c:pt>
                <c:pt idx="1593">
                  <c:v>23.939630009448479</c:v>
                </c:pt>
                <c:pt idx="1594">
                  <c:v>23.93141251937152</c:v>
                </c:pt>
                <c:pt idx="1595">
                  <c:v>23.877049882772781</c:v>
                </c:pt>
                <c:pt idx="1596">
                  <c:v>23.872364040586831</c:v>
                </c:pt>
                <c:pt idx="1597">
                  <c:v>23.870910893658106</c:v>
                </c:pt>
                <c:pt idx="1598">
                  <c:v>23.839460203994349</c:v>
                </c:pt>
                <c:pt idx="1599">
                  <c:v>23.785756371456955</c:v>
                </c:pt>
                <c:pt idx="1600">
                  <c:v>23.773805220884924</c:v>
                </c:pt>
                <c:pt idx="1601">
                  <c:v>23.772362797708865</c:v>
                </c:pt>
                <c:pt idx="1602">
                  <c:v>23.737081081263341</c:v>
                </c:pt>
                <c:pt idx="1603">
                  <c:v>23.729984335453651</c:v>
                </c:pt>
                <c:pt idx="1604">
                  <c:v>23.729984335453651</c:v>
                </c:pt>
                <c:pt idx="1605">
                  <c:v>23.727622328101006</c:v>
                </c:pt>
                <c:pt idx="1606">
                  <c:v>23.688405791069499</c:v>
                </c:pt>
                <c:pt idx="1607">
                  <c:v>23.686163450021809</c:v>
                </c:pt>
                <c:pt idx="1608">
                  <c:v>23.669232653378003</c:v>
                </c:pt>
                <c:pt idx="1609">
                  <c:v>23.650309998305033</c:v>
                </c:pt>
                <c:pt idx="1610">
                  <c:v>23.630391414018277</c:v>
                </c:pt>
                <c:pt idx="1611">
                  <c:v>23.610472829731179</c:v>
                </c:pt>
                <c:pt idx="1612">
                  <c:v>23.610434657212181</c:v>
                </c:pt>
                <c:pt idx="1613">
                  <c:v>23.604333840616732</c:v>
                </c:pt>
                <c:pt idx="1614">
                  <c:v>23.523456839158939</c:v>
                </c:pt>
                <c:pt idx="1615">
                  <c:v>23.518847342010986</c:v>
                </c:pt>
                <c:pt idx="1616">
                  <c:v>23.518847342010986</c:v>
                </c:pt>
                <c:pt idx="1617">
                  <c:v>23.504408942776308</c:v>
                </c:pt>
                <c:pt idx="1618">
                  <c:v>23.469012708774244</c:v>
                </c:pt>
                <c:pt idx="1619">
                  <c:v>23.468016779559775</c:v>
                </c:pt>
                <c:pt idx="1620">
                  <c:v>23.456065628987631</c:v>
                </c:pt>
                <c:pt idx="1621">
                  <c:v>23.440130761558066</c:v>
                </c:pt>
                <c:pt idx="1622">
                  <c:v>23.436353779796036</c:v>
                </c:pt>
                <c:pt idx="1623">
                  <c:v>23.414698968447169</c:v>
                </c:pt>
                <c:pt idx="1624">
                  <c:v>23.407635246408063</c:v>
                </c:pt>
                <c:pt idx="1625">
                  <c:v>23.394649994102565</c:v>
                </c:pt>
                <c:pt idx="1626">
                  <c:v>23.370415716553339</c:v>
                </c:pt>
                <c:pt idx="1627">
                  <c:v>23.35016515586176</c:v>
                </c:pt>
                <c:pt idx="1628">
                  <c:v>23.348505273837645</c:v>
                </c:pt>
                <c:pt idx="1629">
                  <c:v>23.347547517142289</c:v>
                </c:pt>
                <c:pt idx="1630">
                  <c:v>23.344853533385049</c:v>
                </c:pt>
                <c:pt idx="1631">
                  <c:v>23.33758822499874</c:v>
                </c:pt>
                <c:pt idx="1632">
                  <c:v>23.334066874603309</c:v>
                </c:pt>
                <c:pt idx="1633">
                  <c:v>23.311694065425513</c:v>
                </c:pt>
                <c:pt idx="1634">
                  <c:v>23.282441969285742</c:v>
                </c:pt>
                <c:pt idx="1635">
                  <c:v>23.275840613708851</c:v>
                </c:pt>
                <c:pt idx="1636">
                  <c:v>23.269788693384612</c:v>
                </c:pt>
                <c:pt idx="1637">
                  <c:v>23.269037671784758</c:v>
                </c:pt>
                <c:pt idx="1638">
                  <c:v>23.256879786117224</c:v>
                </c:pt>
                <c:pt idx="1639">
                  <c:v>23.247954595707029</c:v>
                </c:pt>
                <c:pt idx="1640">
                  <c:v>23.205423443375594</c:v>
                </c:pt>
                <c:pt idx="1641">
                  <c:v>23.192182559703497</c:v>
                </c:pt>
                <c:pt idx="1642">
                  <c:v>23.174179488807226</c:v>
                </c:pt>
                <c:pt idx="1643">
                  <c:v>23.171229873682933</c:v>
                </c:pt>
                <c:pt idx="1644">
                  <c:v>23.163425853796639</c:v>
                </c:pt>
                <c:pt idx="1645">
                  <c:v>23.154005273153302</c:v>
                </c:pt>
                <c:pt idx="1646">
                  <c:v>23.140394240557043</c:v>
                </c:pt>
                <c:pt idx="1647">
                  <c:v>23.135044445561562</c:v>
                </c:pt>
                <c:pt idx="1648">
                  <c:v>23.100557071982735</c:v>
                </c:pt>
                <c:pt idx="1649">
                  <c:v>23.094831979315813</c:v>
                </c:pt>
                <c:pt idx="1650">
                  <c:v>23.068687337123606</c:v>
                </c:pt>
                <c:pt idx="1651">
                  <c:v>23.061677660104124</c:v>
                </c:pt>
                <c:pt idx="1652">
                  <c:v>23.036779429745479</c:v>
                </c:pt>
                <c:pt idx="1653">
                  <c:v>23.003206491595506</c:v>
                </c:pt>
                <c:pt idx="1654">
                  <c:v>22.985029283118251</c:v>
                </c:pt>
                <c:pt idx="1655">
                  <c:v>22.985029283118251</c:v>
                </c:pt>
                <c:pt idx="1656">
                  <c:v>22.978019606098769</c:v>
                </c:pt>
                <c:pt idx="1657">
                  <c:v>22.959303686121189</c:v>
                </c:pt>
                <c:pt idx="1658">
                  <c:v>22.954324040049414</c:v>
                </c:pt>
                <c:pt idx="1659">
                  <c:v>22.953159548258668</c:v>
                </c:pt>
                <c:pt idx="1660">
                  <c:v>22.953159548258668</c:v>
                </c:pt>
                <c:pt idx="1661">
                  <c:v>22.949175831401476</c:v>
                </c:pt>
                <c:pt idx="1662">
                  <c:v>22.949175831401476</c:v>
                </c:pt>
                <c:pt idx="1663">
                  <c:v>22.946149871239072</c:v>
                </c:pt>
                <c:pt idx="1664">
                  <c:v>22.946149871239072</c:v>
                </c:pt>
                <c:pt idx="1665">
                  <c:v>22.917599900428058</c:v>
                </c:pt>
                <c:pt idx="1666">
                  <c:v>22.90269913473162</c:v>
                </c:pt>
                <c:pt idx="1667">
                  <c:v>22.888717953211653</c:v>
                </c:pt>
                <c:pt idx="1668">
                  <c:v>22.873817187515328</c:v>
                </c:pt>
                <c:pt idx="1669">
                  <c:v>22.872489281896264</c:v>
                </c:pt>
                <c:pt idx="1670">
                  <c:v>22.861866036943297</c:v>
                </c:pt>
                <c:pt idx="1671">
                  <c:v>22.859792684728745</c:v>
                </c:pt>
                <c:pt idx="1672">
                  <c:v>22.843901138565911</c:v>
                </c:pt>
                <c:pt idx="1673">
                  <c:v>22.820826204059358</c:v>
                </c:pt>
                <c:pt idx="1674">
                  <c:v>22.813729458249554</c:v>
                </c:pt>
                <c:pt idx="1675">
                  <c:v>22.809745741392362</c:v>
                </c:pt>
                <c:pt idx="1676">
                  <c:v>22.806719781230072</c:v>
                </c:pt>
                <c:pt idx="1677">
                  <c:v>22.799623035420268</c:v>
                </c:pt>
                <c:pt idx="1678">
                  <c:v>22.781859723390312</c:v>
                </c:pt>
                <c:pt idx="1679">
                  <c:v>22.781859723390085</c:v>
                </c:pt>
                <c:pt idx="1680">
                  <c:v>22.765054168055826</c:v>
                </c:pt>
                <c:pt idx="1681">
                  <c:v>22.757957422246136</c:v>
                </c:pt>
                <c:pt idx="1682">
                  <c:v>22.757957422246136</c:v>
                </c:pt>
                <c:pt idx="1683">
                  <c:v>22.746632051963957</c:v>
                </c:pt>
                <c:pt idx="1684">
                  <c:v>22.731235896034832</c:v>
                </c:pt>
                <c:pt idx="1685">
                  <c:v>22.721108041314665</c:v>
                </c:pt>
                <c:pt idx="1686">
                  <c:v>22.706005689271137</c:v>
                </c:pt>
                <c:pt idx="1687">
                  <c:v>22.693390585889119</c:v>
                </c:pt>
                <c:pt idx="1688">
                  <c:v>22.683224558650636</c:v>
                </c:pt>
                <c:pt idx="1689">
                  <c:v>22.674299368240099</c:v>
                </c:pt>
                <c:pt idx="1690">
                  <c:v>22.636704540713708</c:v>
                </c:pt>
                <c:pt idx="1691">
                  <c:v>22.636377713056731</c:v>
                </c:pt>
                <c:pt idx="1692">
                  <c:v>22.632393996199539</c:v>
                </c:pt>
                <c:pt idx="1693">
                  <c:v>22.63047848280894</c:v>
                </c:pt>
                <c:pt idx="1694">
                  <c:v>22.622347635265214</c:v>
                </c:pt>
                <c:pt idx="1695">
                  <c:v>22.616459128769748</c:v>
                </c:pt>
                <c:pt idx="1696">
                  <c:v>22.606576181664309</c:v>
                </c:pt>
                <c:pt idx="1697">
                  <c:v>22.601596535592421</c:v>
                </c:pt>
                <c:pt idx="1698">
                  <c:v>22.595620960306633</c:v>
                </c:pt>
                <c:pt idx="1699">
                  <c:v>22.594625031092164</c:v>
                </c:pt>
                <c:pt idx="1700">
                  <c:v>22.594625031092164</c:v>
                </c:pt>
                <c:pt idx="1701">
                  <c:v>22.575664203500651</c:v>
                </c:pt>
                <c:pt idx="1702">
                  <c:v>22.575664203500651</c:v>
                </c:pt>
                <c:pt idx="1703">
                  <c:v>22.547778185498601</c:v>
                </c:pt>
                <c:pt idx="1704">
                  <c:v>22.54101341609362</c:v>
                </c:pt>
                <c:pt idx="1705">
                  <c:v>22.53088556137368</c:v>
                </c:pt>
                <c:pt idx="1706">
                  <c:v>22.526901844516033</c:v>
                </c:pt>
                <c:pt idx="1707">
                  <c:v>22.514950693943888</c:v>
                </c:pt>
                <c:pt idx="1708">
                  <c:v>22.513753178382103</c:v>
                </c:pt>
                <c:pt idx="1709">
                  <c:v>22.495032109656904</c:v>
                </c:pt>
                <c:pt idx="1710">
                  <c:v>22.481382904541647</c:v>
                </c:pt>
                <c:pt idx="1711">
                  <c:v>22.479097242227226</c:v>
                </c:pt>
                <c:pt idx="1712">
                  <c:v>22.473415470827035</c:v>
                </c:pt>
                <c:pt idx="1713">
                  <c:v>22.451211224225403</c:v>
                </c:pt>
                <c:pt idx="1714">
                  <c:v>22.433453060943407</c:v>
                </c:pt>
                <c:pt idx="1715">
                  <c:v>22.425567547271157</c:v>
                </c:pt>
                <c:pt idx="1716">
                  <c:v>22.409676001108437</c:v>
                </c:pt>
                <c:pt idx="1717">
                  <c:v>22.38295447489736</c:v>
                </c:pt>
                <c:pt idx="1718">
                  <c:v>22.372200839886659</c:v>
                </c:pt>
                <c:pt idx="1719">
                  <c:v>22.371536887077241</c:v>
                </c:pt>
                <c:pt idx="1720">
                  <c:v>22.3666824823149</c:v>
                </c:pt>
                <c:pt idx="1721">
                  <c:v>22.357555705557388</c:v>
                </c:pt>
                <c:pt idx="1722">
                  <c:v>22.3525760594855</c:v>
                </c:pt>
                <c:pt idx="1723">
                  <c:v>22.348630515147192</c:v>
                </c:pt>
                <c:pt idx="1724">
                  <c:v>22.345893210122995</c:v>
                </c:pt>
                <c:pt idx="1725">
                  <c:v>22.341582665608712</c:v>
                </c:pt>
                <c:pt idx="1726">
                  <c:v>22.339667152218112</c:v>
                </c:pt>
                <c:pt idx="1727">
                  <c:v>22.315764851073482</c:v>
                </c:pt>
                <c:pt idx="1728">
                  <c:v>22.283895116214012</c:v>
                </c:pt>
                <c:pt idx="1729">
                  <c:v>22.281865085266645</c:v>
                </c:pt>
                <c:pt idx="1730">
                  <c:v>22.281533108861709</c:v>
                </c:pt>
                <c:pt idx="1731">
                  <c:v>22.278877297623353</c:v>
                </c:pt>
                <c:pt idx="1732">
                  <c:v>22.266926147051322</c:v>
                </c:pt>
                <c:pt idx="1733">
                  <c:v>22.240074230782852</c:v>
                </c:pt>
                <c:pt idx="1734">
                  <c:v>22.217167858852349</c:v>
                </c:pt>
                <c:pt idx="1735">
                  <c:v>22.212188212781143</c:v>
                </c:pt>
                <c:pt idx="1736">
                  <c:v>22.199703499456405</c:v>
                </c:pt>
                <c:pt idx="1737">
                  <c:v>22.198495686398815</c:v>
                </c:pt>
                <c:pt idx="1738">
                  <c:v>22.189907621141401</c:v>
                </c:pt>
                <c:pt idx="1739">
                  <c:v>22.157373933472741</c:v>
                </c:pt>
                <c:pt idx="1740">
                  <c:v>22.153760365538801</c:v>
                </c:pt>
                <c:pt idx="1741">
                  <c:v>22.151398358186498</c:v>
                </c:pt>
                <c:pt idx="1742">
                  <c:v>22.110363674050518</c:v>
                </c:pt>
                <c:pt idx="1743">
                  <c:v>22.075299416453049</c:v>
                </c:pt>
                <c:pt idx="1744">
                  <c:v>22.074749981200171</c:v>
                </c:pt>
                <c:pt idx="1745">
                  <c:v>22.056491278937187</c:v>
                </c:pt>
                <c:pt idx="1746">
                  <c:v>22.036664912188257</c:v>
                </c:pt>
                <c:pt idx="1747">
                  <c:v>22.013002369910737</c:v>
                </c:pt>
                <c:pt idx="1748">
                  <c:v>21.985116351908459</c:v>
                </c:pt>
                <c:pt idx="1749">
                  <c:v>21.977442722079786</c:v>
                </c:pt>
                <c:pt idx="1750">
                  <c:v>21.972294513431734</c:v>
                </c:pt>
                <c:pt idx="1751">
                  <c:v>21.965366330197867</c:v>
                </c:pt>
                <c:pt idx="1752">
                  <c:v>21.932000127143056</c:v>
                </c:pt>
                <c:pt idx="1753">
                  <c:v>21.928473628000233</c:v>
                </c:pt>
                <c:pt idx="1754">
                  <c:v>21.915237893075755</c:v>
                </c:pt>
                <c:pt idx="1755">
                  <c:v>21.911668072665293</c:v>
                </c:pt>
                <c:pt idx="1756">
                  <c:v>21.890132927621607</c:v>
                </c:pt>
                <c:pt idx="1757">
                  <c:v>21.889507147330846</c:v>
                </c:pt>
                <c:pt idx="1758">
                  <c:v>21.879177706263476</c:v>
                </c:pt>
                <c:pt idx="1759">
                  <c:v>21.853321719209362</c:v>
                </c:pt>
                <c:pt idx="1760">
                  <c:v>21.813816527040217</c:v>
                </c:pt>
                <c:pt idx="1761">
                  <c:v>21.797881659610539</c:v>
                </c:pt>
                <c:pt idx="1762">
                  <c:v>21.795557824776893</c:v>
                </c:pt>
                <c:pt idx="1763">
                  <c:v>21.794855699448249</c:v>
                </c:pt>
                <c:pt idx="1764">
                  <c:v>21.7899142258957</c:v>
                </c:pt>
                <c:pt idx="1765">
                  <c:v>21.75887700642204</c:v>
                </c:pt>
                <c:pt idx="1766">
                  <c:v>21.72779646568199</c:v>
                </c:pt>
                <c:pt idx="1767">
                  <c:v>21.726174756177215</c:v>
                </c:pt>
                <c:pt idx="1768">
                  <c:v>21.722191039319569</c:v>
                </c:pt>
                <c:pt idx="1769">
                  <c:v>21.695594754418039</c:v>
                </c:pt>
                <c:pt idx="1770">
                  <c:v>21.693145678274959</c:v>
                </c:pt>
                <c:pt idx="1771">
                  <c:v>21.678370153887954</c:v>
                </c:pt>
                <c:pt idx="1772">
                  <c:v>21.666419003315923</c:v>
                </c:pt>
                <c:pt idx="1773">
                  <c:v>21.63601828788569</c:v>
                </c:pt>
                <c:pt idx="1774">
                  <c:v>21.636007564133251</c:v>
                </c:pt>
                <c:pt idx="1775">
                  <c:v>21.626581834742069</c:v>
                </c:pt>
                <c:pt idx="1776">
                  <c:v>21.614630684169924</c:v>
                </c:pt>
                <c:pt idx="1777">
                  <c:v>21.603011510002261</c:v>
                </c:pt>
                <c:pt idx="1778">
                  <c:v>21.602679533597325</c:v>
                </c:pt>
                <c:pt idx="1779">
                  <c:v>21.598695816740019</c:v>
                </c:pt>
                <c:pt idx="1780">
                  <c:v>21.590728383025294</c:v>
                </c:pt>
                <c:pt idx="1781">
                  <c:v>21.57080979873831</c:v>
                </c:pt>
                <c:pt idx="1782">
                  <c:v>21.554542954903582</c:v>
                </c:pt>
                <c:pt idx="1783">
                  <c:v>21.549193159908214</c:v>
                </c:pt>
                <c:pt idx="1784">
                  <c:v>21.526988913306809</c:v>
                </c:pt>
                <c:pt idx="1785">
                  <c:v>21.518150791686821</c:v>
                </c:pt>
                <c:pt idx="1786">
                  <c:v>21.507070329019257</c:v>
                </c:pt>
                <c:pt idx="1787">
                  <c:v>21.507070329019257</c:v>
                </c:pt>
                <c:pt idx="1788">
                  <c:v>21.498400769976115</c:v>
                </c:pt>
                <c:pt idx="1789">
                  <c:v>21.480142067713246</c:v>
                </c:pt>
                <c:pt idx="1790">
                  <c:v>21.471216877303164</c:v>
                </c:pt>
                <c:pt idx="1791">
                  <c:v>21.45926572673045</c:v>
                </c:pt>
                <c:pt idx="1792">
                  <c:v>21.450264191282486</c:v>
                </c:pt>
                <c:pt idx="1793">
                  <c:v>21.431379708728628</c:v>
                </c:pt>
                <c:pt idx="1794">
                  <c:v>21.419428558156596</c:v>
                </c:pt>
                <c:pt idx="1795">
                  <c:v>21.398018654422003</c:v>
                </c:pt>
                <c:pt idx="1796">
                  <c:v>21.397441770402565</c:v>
                </c:pt>
                <c:pt idx="1797">
                  <c:v>21.383041543687682</c:v>
                </c:pt>
                <c:pt idx="1798">
                  <c:v>21.356646845133469</c:v>
                </c:pt>
                <c:pt idx="1799">
                  <c:v>21.354818400532963</c:v>
                </c:pt>
                <c:pt idx="1800">
                  <c:v>21.331786787293595</c:v>
                </c:pt>
                <c:pt idx="1801">
                  <c:v>21.327307680202694</c:v>
                </c:pt>
                <c:pt idx="1802">
                  <c:v>21.326932382531254</c:v>
                </c:pt>
                <c:pt idx="1803">
                  <c:v>21.309838172058903</c:v>
                </c:pt>
                <c:pt idx="1804">
                  <c:v>21.307884486148964</c:v>
                </c:pt>
                <c:pt idx="1805">
                  <c:v>21.252112450145205</c:v>
                </c:pt>
                <c:pt idx="1806">
                  <c:v>21.208291564713704</c:v>
                </c:pt>
                <c:pt idx="1807">
                  <c:v>21.176421829854576</c:v>
                </c:pt>
                <c:pt idx="1808">
                  <c:v>21.130859568613459</c:v>
                </c:pt>
                <c:pt idx="1809">
                  <c:v>21.124595338189351</c:v>
                </c:pt>
                <c:pt idx="1810">
                  <c:v>21.111686430921736</c:v>
                </c:pt>
                <c:pt idx="1811">
                  <c:v>21.090733744901399</c:v>
                </c:pt>
                <c:pt idx="1812">
                  <c:v>21.0708533331333</c:v>
                </c:pt>
                <c:pt idx="1813">
                  <c:v>21.06886147470459</c:v>
                </c:pt>
                <c:pt idx="1814">
                  <c:v>21.064007069942477</c:v>
                </c:pt>
                <c:pt idx="1815">
                  <c:v>21.043217797750344</c:v>
                </c:pt>
                <c:pt idx="1816">
                  <c:v>21.033671975797574</c:v>
                </c:pt>
                <c:pt idx="1817">
                  <c:v>21.012218750795796</c:v>
                </c:pt>
                <c:pt idx="1818">
                  <c:v>20.997154571271153</c:v>
                </c:pt>
                <c:pt idx="1819">
                  <c:v>20.994128611109431</c:v>
                </c:pt>
                <c:pt idx="1820">
                  <c:v>20.984833271775528</c:v>
                </c:pt>
                <c:pt idx="1821">
                  <c:v>20.977235986984283</c:v>
                </c:pt>
                <c:pt idx="1822">
                  <c:v>20.970890262774219</c:v>
                </c:pt>
                <c:pt idx="1823">
                  <c:v>20.970596458888622</c:v>
                </c:pt>
                <c:pt idx="1824">
                  <c:v>20.970226309964801</c:v>
                </c:pt>
                <c:pt idx="1825">
                  <c:v>20.956615277368542</c:v>
                </c:pt>
                <c:pt idx="1826">
                  <c:v>20.956446714792264</c:v>
                </c:pt>
                <c:pt idx="1827">
                  <c:v>20.94619876751085</c:v>
                </c:pt>
                <c:pt idx="1828">
                  <c:v>20.937398818410429</c:v>
                </c:pt>
                <c:pt idx="1829">
                  <c:v>20.919395747514045</c:v>
                </c:pt>
                <c:pt idx="1830">
                  <c:v>20.91660954621841</c:v>
                </c:pt>
                <c:pt idx="1831">
                  <c:v>20.907482769460785</c:v>
                </c:pt>
                <c:pt idx="1832">
                  <c:v>20.906818816651139</c:v>
                </c:pt>
                <c:pt idx="1833">
                  <c:v>20.892048441012093</c:v>
                </c:pt>
                <c:pt idx="1834">
                  <c:v>20.880756094501635</c:v>
                </c:pt>
                <c:pt idx="1835">
                  <c:v>20.842083417718413</c:v>
                </c:pt>
                <c:pt idx="1836">
                  <c:v>20.824113370592954</c:v>
                </c:pt>
                <c:pt idx="1837">
                  <c:v>20.820798755293026</c:v>
                </c:pt>
                <c:pt idx="1838">
                  <c:v>20.817887312688185</c:v>
                </c:pt>
                <c:pt idx="1839">
                  <c:v>20.81253751769259</c:v>
                </c:pt>
                <c:pt idx="1840">
                  <c:v>20.802578225548814</c:v>
                </c:pt>
                <c:pt idx="1841">
                  <c:v>20.790001294685908</c:v>
                </c:pt>
                <c:pt idx="1842">
                  <c:v>20.789299169357605</c:v>
                </c:pt>
                <c:pt idx="1843">
                  <c:v>20.789130606781328</c:v>
                </c:pt>
                <c:pt idx="1844">
                  <c:v>20.77900790080912</c:v>
                </c:pt>
                <c:pt idx="1845">
                  <c:v>20.765228305636811</c:v>
                </c:pt>
                <c:pt idx="1846">
                  <c:v>20.751121882807411</c:v>
                </c:pt>
                <c:pt idx="1847">
                  <c:v>20.746180409254748</c:v>
                </c:pt>
                <c:pt idx="1848">
                  <c:v>20.735187015377619</c:v>
                </c:pt>
                <c:pt idx="1849">
                  <c:v>20.717135048209911</c:v>
                </c:pt>
                <c:pt idx="1850">
                  <c:v>20.700618148013291</c:v>
                </c:pt>
                <c:pt idx="1851">
                  <c:v>20.698375806965487</c:v>
                </c:pt>
                <c:pt idx="1852">
                  <c:v>20.696383948537004</c:v>
                </c:pt>
                <c:pt idx="1853">
                  <c:v>20.688666997441032</c:v>
                </c:pt>
                <c:pt idx="1854">
                  <c:v>20.682440939535809</c:v>
                </c:pt>
                <c:pt idx="1855">
                  <c:v>20.682440939535809</c:v>
                </c:pt>
                <c:pt idx="1856">
                  <c:v>20.676715846868888</c:v>
                </c:pt>
                <c:pt idx="1857">
                  <c:v>20.675431262516668</c:v>
                </c:pt>
                <c:pt idx="1858">
                  <c:v>20.642603770961955</c:v>
                </c:pt>
                <c:pt idx="1859">
                  <c:v>20.63795610129489</c:v>
                </c:pt>
                <c:pt idx="1860">
                  <c:v>20.634636337247002</c:v>
                </c:pt>
                <c:pt idx="1861">
                  <c:v>20.634636337247002</c:v>
                </c:pt>
                <c:pt idx="1862">
                  <c:v>20.604056335487712</c:v>
                </c:pt>
                <c:pt idx="1863">
                  <c:v>20.566913150671439</c:v>
                </c:pt>
                <c:pt idx="1864">
                  <c:v>20.550978283241648</c:v>
                </c:pt>
                <c:pt idx="1865">
                  <c:v>20.542140161621774</c:v>
                </c:pt>
                <c:pt idx="1866">
                  <c:v>20.541018991098099</c:v>
                </c:pt>
                <c:pt idx="1867">
                  <c:v>20.53998488936486</c:v>
                </c:pt>
                <c:pt idx="1868">
                  <c:v>20.539027132669503</c:v>
                </c:pt>
                <c:pt idx="1869">
                  <c:v>20.539027132669503</c:v>
                </c:pt>
                <c:pt idx="1870">
                  <c:v>20.53201745564968</c:v>
                </c:pt>
                <c:pt idx="1871">
                  <c:v>20.502841704548132</c:v>
                </c:pt>
                <c:pt idx="1872">
                  <c:v>20.478569254479567</c:v>
                </c:pt>
                <c:pt idx="1873">
                  <c:v>20.47840069190363</c:v>
                </c:pt>
                <c:pt idx="1874">
                  <c:v>20.47678413114636</c:v>
                </c:pt>
                <c:pt idx="1875">
                  <c:v>20.470857452131668</c:v>
                </c:pt>
                <c:pt idx="1876">
                  <c:v>20.460310552216583</c:v>
                </c:pt>
                <c:pt idx="1877">
                  <c:v>20.459352795521227</c:v>
                </c:pt>
                <c:pt idx="1878">
                  <c:v>20.442090022472598</c:v>
                </c:pt>
                <c:pt idx="1879">
                  <c:v>20.441676552281706</c:v>
                </c:pt>
                <c:pt idx="1880">
                  <c:v>20.439396038715017</c:v>
                </c:pt>
                <c:pt idx="1881">
                  <c:v>20.438563523329208</c:v>
                </c:pt>
                <c:pt idx="1882">
                  <c:v>20.431760581405115</c:v>
                </c:pt>
                <c:pt idx="1883">
                  <c:v>20.427483060661757</c:v>
                </c:pt>
                <c:pt idx="1884">
                  <c:v>20.423461171285339</c:v>
                </c:pt>
                <c:pt idx="1885">
                  <c:v>20.418644939042338</c:v>
                </c:pt>
                <c:pt idx="1886">
                  <c:v>20.403580759517581</c:v>
                </c:pt>
                <c:pt idx="1887">
                  <c:v>20.367727307801033</c:v>
                </c:pt>
                <c:pt idx="1888">
                  <c:v>20.359759874085967</c:v>
                </c:pt>
                <c:pt idx="1889">
                  <c:v>20.356108133633484</c:v>
                </c:pt>
                <c:pt idx="1890">
                  <c:v>20.354905469323739</c:v>
                </c:pt>
                <c:pt idx="1891">
                  <c:v>20.354905469323739</c:v>
                </c:pt>
                <c:pt idx="1892">
                  <c:v>20.343291443904036</c:v>
                </c:pt>
                <c:pt idx="1893">
                  <c:v>20.325196155469371</c:v>
                </c:pt>
                <c:pt idx="1894">
                  <c:v>20.319052017607078</c:v>
                </c:pt>
                <c:pt idx="1895">
                  <c:v>20.311753685449617</c:v>
                </c:pt>
                <c:pt idx="1896">
                  <c:v>20.300629901515435</c:v>
                </c:pt>
                <c:pt idx="1897">
                  <c:v>20.296314208253193</c:v>
                </c:pt>
                <c:pt idx="1898">
                  <c:v>20.295448669096231</c:v>
                </c:pt>
                <c:pt idx="1899">
                  <c:v>20.279214849033224</c:v>
                </c:pt>
                <c:pt idx="1900">
                  <c:v>20.276101820080498</c:v>
                </c:pt>
                <c:pt idx="1901">
                  <c:v>20.260591146593811</c:v>
                </c:pt>
                <c:pt idx="1902">
                  <c:v>20.258425576841205</c:v>
                </c:pt>
                <c:pt idx="1903">
                  <c:v>20.252199518935868</c:v>
                </c:pt>
                <c:pt idx="1904">
                  <c:v>20.23921426663037</c:v>
                </c:pt>
                <c:pt idx="1905">
                  <c:v>20.225271257629402</c:v>
                </c:pt>
                <c:pt idx="1906">
                  <c:v>20.221619517177032</c:v>
                </c:pt>
                <c:pt idx="1907">
                  <c:v>20.213320107057484</c:v>
                </c:pt>
                <c:pt idx="1908">
                  <c:v>20.204394916647288</c:v>
                </c:pt>
                <c:pt idx="1909">
                  <c:v>20.198381168841593</c:v>
                </c:pt>
                <c:pt idx="1910">
                  <c:v>20.183480403145722</c:v>
                </c:pt>
                <c:pt idx="1911">
                  <c:v>20.180584833040825</c:v>
                </c:pt>
                <c:pt idx="1912">
                  <c:v>20.159703343310525</c:v>
                </c:pt>
                <c:pt idx="1913">
                  <c:v>20.158048610034598</c:v>
                </c:pt>
                <c:pt idx="1914">
                  <c:v>20.14065544692869</c:v>
                </c:pt>
                <c:pt idx="1915">
                  <c:v>20.126962920546475</c:v>
                </c:pt>
                <c:pt idx="1916">
                  <c:v>20.122690548551077</c:v>
                </c:pt>
                <c:pt idx="1917">
                  <c:v>20.119866174736671</c:v>
                </c:pt>
                <c:pt idx="1918">
                  <c:v>20.119866174736671</c:v>
                </c:pt>
                <c:pt idx="1919">
                  <c:v>20.103931307306993</c:v>
                </c:pt>
                <c:pt idx="1920">
                  <c:v>20.100818278354268</c:v>
                </c:pt>
                <c:pt idx="1921">
                  <c:v>20.080029006162817</c:v>
                </c:pt>
                <c:pt idx="1922">
                  <c:v>20.068077855590332</c:v>
                </c:pt>
                <c:pt idx="1923">
                  <c:v>20.06605297339047</c:v>
                </c:pt>
                <c:pt idx="1924">
                  <c:v>20.05795514961801</c:v>
                </c:pt>
                <c:pt idx="1925">
                  <c:v>20.056126705018187</c:v>
                </c:pt>
                <c:pt idx="1926">
                  <c:v>20.021143941206446</c:v>
                </c:pt>
                <c:pt idx="1927">
                  <c:v>19.992887774280916</c:v>
                </c:pt>
                <c:pt idx="1928">
                  <c:v>19.962345945040511</c:v>
                </c:pt>
                <c:pt idx="1929">
                  <c:v>19.951679378820813</c:v>
                </c:pt>
                <c:pt idx="1930">
                  <c:v>19.94545332091559</c:v>
                </c:pt>
                <c:pt idx="1931">
                  <c:v>19.943711945105633</c:v>
                </c:pt>
                <c:pt idx="1932">
                  <c:v>19.929518453485684</c:v>
                </c:pt>
                <c:pt idx="1933">
                  <c:v>19.929518453485684</c:v>
                </c:pt>
                <c:pt idx="1934">
                  <c:v>19.927777077676183</c:v>
                </c:pt>
                <c:pt idx="1935">
                  <c:v>19.925866713033088</c:v>
                </c:pt>
                <c:pt idx="1936">
                  <c:v>19.915869248370655</c:v>
                </c:pt>
                <c:pt idx="1937">
                  <c:v>19.904745464436587</c:v>
                </c:pt>
                <c:pt idx="1938">
                  <c:v>19.885697568054184</c:v>
                </c:pt>
                <c:pt idx="1939">
                  <c:v>19.876402228720394</c:v>
                </c:pt>
                <c:pt idx="1940">
                  <c:v>19.872086535457811</c:v>
                </c:pt>
                <c:pt idx="1941">
                  <c:v>19.864451078148136</c:v>
                </c:pt>
                <c:pt idx="1942">
                  <c:v>19.821087410431005</c:v>
                </c:pt>
                <c:pt idx="1943">
                  <c:v>19.818306357883102</c:v>
                </c:pt>
                <c:pt idx="1944">
                  <c:v>19.800341459505944</c:v>
                </c:pt>
                <c:pt idx="1945">
                  <c:v>19.76618606233194</c:v>
                </c:pt>
                <c:pt idx="1946">
                  <c:v>19.725151378196188</c:v>
                </c:pt>
                <c:pt idx="1947">
                  <c:v>19.724318862810151</c:v>
                </c:pt>
                <c:pt idx="1948">
                  <c:v>19.721793441629416</c:v>
                </c:pt>
                <c:pt idx="1949">
                  <c:v>19.682528008326585</c:v>
                </c:pt>
                <c:pt idx="1950">
                  <c:v>19.681657320421891</c:v>
                </c:pt>
                <c:pt idx="1951">
                  <c:v>19.645803868704775</c:v>
                </c:pt>
                <c:pt idx="1952">
                  <c:v>19.621901567560599</c:v>
                </c:pt>
                <c:pt idx="1953">
                  <c:v>19.612442814398037</c:v>
                </c:pt>
                <c:pt idx="1954">
                  <c:v>19.59401554955889</c:v>
                </c:pt>
                <c:pt idx="1955">
                  <c:v>19.592730965206215</c:v>
                </c:pt>
                <c:pt idx="1956">
                  <c:v>19.583560867181973</c:v>
                </c:pt>
                <c:pt idx="1957">
                  <c:v>19.578080682128984</c:v>
                </c:pt>
                <c:pt idx="1958">
                  <c:v>19.56700021946142</c:v>
                </c:pt>
                <c:pt idx="1959">
                  <c:v>19.543723698607437</c:v>
                </c:pt>
                <c:pt idx="1960">
                  <c:v>19.534259796697484</c:v>
                </c:pt>
                <c:pt idx="1961">
                  <c:v>19.534259796697484</c:v>
                </c:pt>
                <c:pt idx="1962">
                  <c:v>19.523179334030374</c:v>
                </c:pt>
                <c:pt idx="1963">
                  <c:v>19.495293316028096</c:v>
                </c:pt>
                <c:pt idx="1964">
                  <c:v>19.491309599170904</c:v>
                </c:pt>
                <c:pt idx="1965">
                  <c:v>19.490438911265983</c:v>
                </c:pt>
                <c:pt idx="1966">
                  <c:v>19.482471477551485</c:v>
                </c:pt>
                <c:pt idx="1967">
                  <c:v>19.471391014884148</c:v>
                </c:pt>
                <c:pt idx="1968">
                  <c:v>19.442634308977176</c:v>
                </c:pt>
                <c:pt idx="1969">
                  <c:v>19.417861319927965</c:v>
                </c:pt>
                <c:pt idx="1970">
                  <c:v>19.413588947932453</c:v>
                </c:pt>
                <c:pt idx="1971">
                  <c:v>19.411635262022742</c:v>
                </c:pt>
                <c:pt idx="1972">
                  <c:v>19.39525390063136</c:v>
                </c:pt>
                <c:pt idx="1973">
                  <c:v>19.382878556116339</c:v>
                </c:pt>
                <c:pt idx="1974">
                  <c:v>19.376739567001323</c:v>
                </c:pt>
                <c:pt idx="1975">
                  <c:v>19.363830659733935</c:v>
                </c:pt>
                <c:pt idx="1976">
                  <c:v>19.354203343995096</c:v>
                </c:pt>
                <c:pt idx="1977">
                  <c:v>19.345239981065788</c:v>
                </c:pt>
                <c:pt idx="1978">
                  <c:v>19.314284681635058</c:v>
                </c:pt>
                <c:pt idx="1979">
                  <c:v>19.307895209901517</c:v>
                </c:pt>
                <c:pt idx="1980">
                  <c:v>19.297065229853388</c:v>
                </c:pt>
                <c:pt idx="1981">
                  <c:v>19.296107473157804</c:v>
                </c:pt>
                <c:pt idx="1982">
                  <c:v>19.292455732705207</c:v>
                </c:pt>
                <c:pt idx="1983">
                  <c:v>19.284156322585545</c:v>
                </c:pt>
                <c:pt idx="1984">
                  <c:v>19.279301917823432</c:v>
                </c:pt>
                <c:pt idx="1985">
                  <c:v>19.278431229918397</c:v>
                </c:pt>
                <c:pt idx="1986">
                  <c:v>19.271873195608805</c:v>
                </c:pt>
                <c:pt idx="1987">
                  <c:v>19.240335437154044</c:v>
                </c:pt>
                <c:pt idx="1988">
                  <c:v>19.219546164962026</c:v>
                </c:pt>
                <c:pt idx="1989">
                  <c:v>19.205439742132626</c:v>
                </c:pt>
                <c:pt idx="1990">
                  <c:v>19.204481985437383</c:v>
                </c:pt>
                <c:pt idx="1991">
                  <c:v>19.172867881945308</c:v>
                </c:pt>
                <c:pt idx="1992">
                  <c:v>19.171741562673333</c:v>
                </c:pt>
                <c:pt idx="1993">
                  <c:v>19.155806695243541</c:v>
                </c:pt>
                <c:pt idx="1994">
                  <c:v>19.148709949433851</c:v>
                </c:pt>
                <c:pt idx="1995">
                  <c:v>19.145683989271902</c:v>
                </c:pt>
                <c:pt idx="1996">
                  <c:v>19.144726232576659</c:v>
                </c:pt>
                <c:pt idx="1997">
                  <c:v>19.143855544671396</c:v>
                </c:pt>
                <c:pt idx="1998">
                  <c:v>19.129749121841996</c:v>
                </c:pt>
                <c:pt idx="1999">
                  <c:v>19.120785758912689</c:v>
                </c:pt>
                <c:pt idx="2000">
                  <c:v>19.115098838764538</c:v>
                </c:pt>
                <c:pt idx="2001">
                  <c:v>19.111985809812381</c:v>
                </c:pt>
                <c:pt idx="2002">
                  <c:v>19.088954196572558</c:v>
                </c:pt>
                <c:pt idx="2003">
                  <c:v>19.069661392576222</c:v>
                </c:pt>
                <c:pt idx="2004">
                  <c:v>19.069035612285347</c:v>
                </c:pt>
                <c:pt idx="2005">
                  <c:v>19.063021864480447</c:v>
                </c:pt>
                <c:pt idx="2006">
                  <c:v>19.054058501551481</c:v>
                </c:pt>
                <c:pt idx="2007">
                  <c:v>19.045759091431819</c:v>
                </c:pt>
                <c:pt idx="2008">
                  <c:v>19.042107350978995</c:v>
                </c:pt>
                <c:pt idx="2009">
                  <c:v>19.025214726854301</c:v>
                </c:pt>
                <c:pt idx="2010">
                  <c:v>19.009279859424623</c:v>
                </c:pt>
                <c:pt idx="2011">
                  <c:v>19.007581804881738</c:v>
                </c:pt>
                <c:pt idx="2012">
                  <c:v>18.992849601761804</c:v>
                </c:pt>
                <c:pt idx="2013">
                  <c:v>18.981393841422801</c:v>
                </c:pt>
                <c:pt idx="2014">
                  <c:v>18.953507823420978</c:v>
                </c:pt>
                <c:pt idx="2015">
                  <c:v>18.953507823420978</c:v>
                </c:pt>
                <c:pt idx="2016">
                  <c:v>18.945834193591963</c:v>
                </c:pt>
                <c:pt idx="2017">
                  <c:v>18.94563260724442</c:v>
                </c:pt>
                <c:pt idx="2018">
                  <c:v>18.94434287414424</c:v>
                </c:pt>
                <c:pt idx="2019">
                  <c:v>18.938900861610364</c:v>
                </c:pt>
                <c:pt idx="2020">
                  <c:v>18.932718551229073</c:v>
                </c:pt>
                <c:pt idx="2021">
                  <c:v>18.932593309919184</c:v>
                </c:pt>
                <c:pt idx="2022">
                  <c:v>18.927281687442928</c:v>
                </c:pt>
                <c:pt idx="2023">
                  <c:v>18.918612128399786</c:v>
                </c:pt>
                <c:pt idx="2024">
                  <c:v>18.916783683799281</c:v>
                </c:pt>
                <c:pt idx="2025">
                  <c:v>18.893752070559458</c:v>
                </c:pt>
                <c:pt idx="2026">
                  <c:v>18.893752070559458</c:v>
                </c:pt>
                <c:pt idx="2027">
                  <c:v>18.87877495982525</c:v>
                </c:pt>
                <c:pt idx="2028">
                  <c:v>18.873131360943944</c:v>
                </c:pt>
                <c:pt idx="2029">
                  <c:v>18.869849769414941</c:v>
                </c:pt>
                <c:pt idx="2030">
                  <c:v>18.866823809253106</c:v>
                </c:pt>
                <c:pt idx="2031">
                  <c:v>18.834660270508152</c:v>
                </c:pt>
                <c:pt idx="2032">
                  <c:v>18.814077733411523</c:v>
                </c:pt>
                <c:pt idx="2033">
                  <c:v>18.814077733411523</c:v>
                </c:pt>
                <c:pt idx="2034">
                  <c:v>18.813207045506829</c:v>
                </c:pt>
                <c:pt idx="2035">
                  <c:v>18.811846116116271</c:v>
                </c:pt>
                <c:pt idx="2036">
                  <c:v>18.795116905819896</c:v>
                </c:pt>
                <c:pt idx="2037">
                  <c:v>18.791465165367299</c:v>
                </c:pt>
                <c:pt idx="2038">
                  <c:v>18.778224281694747</c:v>
                </c:pt>
                <c:pt idx="2039">
                  <c:v>18.768515472170179</c:v>
                </c:pt>
                <c:pt idx="2040">
                  <c:v>18.767269060337071</c:v>
                </c:pt>
                <c:pt idx="2041">
                  <c:v>18.765402443217567</c:v>
                </c:pt>
                <c:pt idx="2042">
                  <c:v>18.763247170960312</c:v>
                </c:pt>
                <c:pt idx="2043">
                  <c:v>18.741500142073505</c:v>
                </c:pt>
                <c:pt idx="2044">
                  <c:v>18.740215557721058</c:v>
                </c:pt>
                <c:pt idx="2045">
                  <c:v>18.739344869816023</c:v>
                </c:pt>
                <c:pt idx="2046">
                  <c:v>18.737516425215858</c:v>
                </c:pt>
                <c:pt idx="2047">
                  <c:v>18.717597840928875</c:v>
                </c:pt>
                <c:pt idx="2048">
                  <c:v>18.710501095118957</c:v>
                </c:pt>
                <c:pt idx="2049">
                  <c:v>18.70564669035673</c:v>
                </c:pt>
                <c:pt idx="2050">
                  <c:v>18.698549944546471</c:v>
                </c:pt>
                <c:pt idx="2051">
                  <c:v>18.697515842813345</c:v>
                </c:pt>
                <c:pt idx="2052">
                  <c:v>18.690582510831632</c:v>
                </c:pt>
                <c:pt idx="2053">
                  <c:v>18.690582510831632</c:v>
                </c:pt>
                <c:pt idx="2054">
                  <c:v>18.677760672354452</c:v>
                </c:pt>
                <c:pt idx="2055">
                  <c:v>18.669793238640068</c:v>
                </c:pt>
                <c:pt idx="2056">
                  <c:v>18.666680209687456</c:v>
                </c:pt>
                <c:pt idx="2057">
                  <c:v>18.662696492829809</c:v>
                </c:pt>
                <c:pt idx="2058">
                  <c:v>18.661825804925229</c:v>
                </c:pt>
                <c:pt idx="2059">
                  <c:v>18.641907220638245</c:v>
                </c:pt>
                <c:pt idx="2060">
                  <c:v>18.641907220638245</c:v>
                </c:pt>
                <c:pt idx="2061">
                  <c:v>18.631784514665924</c:v>
                </c:pt>
                <c:pt idx="2062">
                  <c:v>18.611865930379054</c:v>
                </c:pt>
                <c:pt idx="2063">
                  <c:v>18.606222331497634</c:v>
                </c:pt>
                <c:pt idx="2064">
                  <c:v>18.598086335206744</c:v>
                </c:pt>
                <c:pt idx="2065">
                  <c:v>18.592981447825309</c:v>
                </c:pt>
                <c:pt idx="2066">
                  <c:v>18.5861351846346</c:v>
                </c:pt>
                <c:pt idx="2067">
                  <c:v>18.5861351846346</c:v>
                </c:pt>
                <c:pt idx="2068">
                  <c:v>18.574184034062114</c:v>
                </c:pt>
                <c:pt idx="2069">
                  <c:v>18.574184034062114</c:v>
                </c:pt>
                <c:pt idx="2070">
                  <c:v>18.561362195584934</c:v>
                </c:pt>
                <c:pt idx="2071">
                  <c:v>18.550281732917597</c:v>
                </c:pt>
                <c:pt idx="2072">
                  <c:v>18.549122389874697</c:v>
                </c:pt>
                <c:pt idx="2073">
                  <c:v>18.547168703965212</c:v>
                </c:pt>
                <c:pt idx="2074">
                  <c:v>18.542314299202985</c:v>
                </c:pt>
                <c:pt idx="2075">
                  <c:v>18.54144361129795</c:v>
                </c:pt>
                <c:pt idx="2076">
                  <c:v>18.536175310088197</c:v>
                </c:pt>
                <c:pt idx="2077">
                  <c:v>18.52239571491566</c:v>
                </c:pt>
                <c:pt idx="2078">
                  <c:v>18.513557593296014</c:v>
                </c:pt>
                <c:pt idx="2079">
                  <c:v>18.498493413771484</c:v>
                </c:pt>
                <c:pt idx="2080">
                  <c:v>18.497622725866449</c:v>
                </c:pt>
                <c:pt idx="2081">
                  <c:v>18.495880923799859</c:v>
                </c:pt>
                <c:pt idx="2082">
                  <c:v>18.493181791294887</c:v>
                </c:pt>
                <c:pt idx="2083">
                  <c:v>18.491358495442455</c:v>
                </c:pt>
                <c:pt idx="2084">
                  <c:v>18.485671575294418</c:v>
                </c:pt>
                <c:pt idx="2085">
                  <c:v>18.475962339512876</c:v>
                </c:pt>
                <c:pt idx="2086">
                  <c:v>18.468490296031405</c:v>
                </c:pt>
                <c:pt idx="2087">
                  <c:v>18.466623678911901</c:v>
                </c:pt>
                <c:pt idx="2088">
                  <c:v>18.462639962054823</c:v>
                </c:pt>
                <c:pt idx="2089">
                  <c:v>18.447575782530066</c:v>
                </c:pt>
                <c:pt idx="2090">
                  <c:v>18.447575782530066</c:v>
                </c:pt>
                <c:pt idx="2091">
                  <c:v>18.446705094625031</c:v>
                </c:pt>
                <c:pt idx="2092">
                  <c:v>18.441768769820214</c:v>
                </c:pt>
                <c:pt idx="2093">
                  <c:v>18.439608348815227</c:v>
                </c:pt>
                <c:pt idx="2094">
                  <c:v>18.432598671795631</c:v>
                </c:pt>
                <c:pt idx="2095">
                  <c:v>18.407738613955758</c:v>
                </c:pt>
                <c:pt idx="2096">
                  <c:v>18.407738613955758</c:v>
                </c:pt>
                <c:pt idx="2097">
                  <c:v>18.406867926051177</c:v>
                </c:pt>
                <c:pt idx="2098">
                  <c:v>18.402884209193417</c:v>
                </c:pt>
                <c:pt idx="2099">
                  <c:v>18.394046087574111</c:v>
                </c:pt>
                <c:pt idx="2100">
                  <c:v>18.381844454382531</c:v>
                </c:pt>
                <c:pt idx="2101">
                  <c:v>18.369561327405677</c:v>
                </c:pt>
                <c:pt idx="2102">
                  <c:v>18.359934011667065</c:v>
                </c:pt>
                <c:pt idx="2103">
                  <c:v>18.344956900932516</c:v>
                </c:pt>
                <c:pt idx="2104">
                  <c:v>18.343999144237273</c:v>
                </c:pt>
                <c:pt idx="2105">
                  <c:v>18.331177305759979</c:v>
                </c:pt>
                <c:pt idx="2106">
                  <c:v>18.331177305759979</c:v>
                </c:pt>
                <c:pt idx="2107">
                  <c:v>18.31611312623545</c:v>
                </c:pt>
                <c:pt idx="2108">
                  <c:v>18.315242438330756</c:v>
                </c:pt>
                <c:pt idx="2109">
                  <c:v>18.315242438330756</c:v>
                </c:pt>
                <c:pt idx="2110">
                  <c:v>18.307612129768358</c:v>
                </c:pt>
                <c:pt idx="2111">
                  <c:v>18.305119732358662</c:v>
                </c:pt>
                <c:pt idx="2112">
                  <c:v>18.304161975663419</c:v>
                </c:pt>
                <c:pt idx="2113">
                  <c:v>18.293500558191226</c:v>
                </c:pt>
                <c:pt idx="2114">
                  <c:v>18.29046944928109</c:v>
                </c:pt>
                <c:pt idx="2115">
                  <c:v>18.287356420328933</c:v>
                </c:pt>
                <c:pt idx="2116">
                  <c:v>18.283372703471287</c:v>
                </c:pt>
                <c:pt idx="2117">
                  <c:v>18.271421552899255</c:v>
                </c:pt>
                <c:pt idx="2118">
                  <c:v>18.26196279973658</c:v>
                </c:pt>
                <c:pt idx="2119">
                  <c:v>18.251502968611817</c:v>
                </c:pt>
                <c:pt idx="2120">
                  <c:v>18.230713696420366</c:v>
                </c:pt>
                <c:pt idx="2121">
                  <c:v>18.213494244638241</c:v>
                </c:pt>
                <c:pt idx="2122">
                  <c:v>18.211665800037963</c:v>
                </c:pt>
                <c:pt idx="2123">
                  <c:v>18.199714649465932</c:v>
                </c:pt>
                <c:pt idx="2124">
                  <c:v>18.190876527845717</c:v>
                </c:pt>
                <c:pt idx="2125">
                  <c:v>18.17979606517838</c:v>
                </c:pt>
                <c:pt idx="2126">
                  <c:v>18.167844914606349</c:v>
                </c:pt>
                <c:pt idx="2127">
                  <c:v>18.156764451939353</c:v>
                </c:pt>
                <c:pt idx="2128">
                  <c:v>18.151910047176671</c:v>
                </c:pt>
                <c:pt idx="2129">
                  <c:v>18.151910047176671</c:v>
                </c:pt>
                <c:pt idx="2130">
                  <c:v>18.136845867651914</c:v>
                </c:pt>
                <c:pt idx="2131">
                  <c:v>18.097008699077833</c:v>
                </c:pt>
                <c:pt idx="2132">
                  <c:v>18.093024982220641</c:v>
                </c:pt>
                <c:pt idx="2133">
                  <c:v>18.074559544862382</c:v>
                </c:pt>
                <c:pt idx="2134">
                  <c:v>18.057797310794399</c:v>
                </c:pt>
                <c:pt idx="2135">
                  <c:v>18.048333408884218</c:v>
                </c:pt>
                <c:pt idx="2136">
                  <c:v>18.029911292792576</c:v>
                </c:pt>
                <c:pt idx="2137">
                  <c:v>18.02928551250227</c:v>
                </c:pt>
                <c:pt idx="2138">
                  <c:v>18.01247995716767</c:v>
                </c:pt>
                <c:pt idx="2139">
                  <c:v>18.005383211357639</c:v>
                </c:pt>
                <c:pt idx="2140">
                  <c:v>17.991690684975424</c:v>
                </c:pt>
                <c:pt idx="2141">
                  <c:v>17.989448343927847</c:v>
                </c:pt>
                <c:pt idx="2142">
                  <c:v>17.988577656023381</c:v>
                </c:pt>
                <c:pt idx="2143">
                  <c:v>17.984593939165734</c:v>
                </c:pt>
                <c:pt idx="2144">
                  <c:v>17.980909174941871</c:v>
                </c:pt>
                <c:pt idx="2145">
                  <c:v>17.973513476498169</c:v>
                </c:pt>
                <c:pt idx="2146">
                  <c:v>17.968659071735829</c:v>
                </c:pt>
                <c:pt idx="2147">
                  <c:v>17.957540436549834</c:v>
                </c:pt>
                <c:pt idx="2148">
                  <c:v>17.956707921163684</c:v>
                </c:pt>
                <c:pt idx="2149">
                  <c:v>17.952724204306264</c:v>
                </c:pt>
                <c:pt idx="2150">
                  <c:v>17.94110503013917</c:v>
                </c:pt>
                <c:pt idx="2151">
                  <c:v>17.920729228137702</c:v>
                </c:pt>
                <c:pt idx="2152">
                  <c:v>17.889855422492701</c:v>
                </c:pt>
                <c:pt idx="2153">
                  <c:v>17.886829462330752</c:v>
                </c:pt>
                <c:pt idx="2154">
                  <c:v>17.883841674687687</c:v>
                </c:pt>
                <c:pt idx="2155">
                  <c:v>17.877033584015635</c:v>
                </c:pt>
                <c:pt idx="2156">
                  <c:v>17.873550406139088</c:v>
                </c:pt>
                <c:pt idx="2157">
                  <c:v>17.861098716585843</c:v>
                </c:pt>
                <c:pt idx="2158">
                  <c:v>17.853131282871004</c:v>
                </c:pt>
                <c:pt idx="2159">
                  <c:v>17.839024860041604</c:v>
                </c:pt>
                <c:pt idx="2160">
                  <c:v>17.825245264869068</c:v>
                </c:pt>
                <c:pt idx="2161">
                  <c:v>17.821261548011989</c:v>
                </c:pt>
                <c:pt idx="2162">
                  <c:v>17.814665341183058</c:v>
                </c:pt>
                <c:pt idx="2163">
                  <c:v>17.809310397439845</c:v>
                </c:pt>
                <c:pt idx="2164">
                  <c:v>17.800472275819857</c:v>
                </c:pt>
                <c:pt idx="2165">
                  <c:v>17.794039482819812</c:v>
                </c:pt>
                <c:pt idx="2166">
                  <c:v>17.786741150662237</c:v>
                </c:pt>
                <c:pt idx="2167">
                  <c:v>17.767981909417813</c:v>
                </c:pt>
                <c:pt idx="2168">
                  <c:v>17.761505795150583</c:v>
                </c:pt>
                <c:pt idx="2169">
                  <c:v>17.761505795150583</c:v>
                </c:pt>
                <c:pt idx="2170">
                  <c:v>17.749554644578552</c:v>
                </c:pt>
                <c:pt idx="2171">
                  <c:v>17.739470111125684</c:v>
                </c:pt>
                <c:pt idx="2172">
                  <c:v>17.739431938606572</c:v>
                </c:pt>
                <c:pt idx="2173">
                  <c:v>17.734490465053796</c:v>
                </c:pt>
                <c:pt idx="2174">
                  <c:v>17.721668626576729</c:v>
                </c:pt>
                <c:pt idx="2175">
                  <c:v>17.712830504956855</c:v>
                </c:pt>
                <c:pt idx="2176">
                  <c:v>17.708890109366166</c:v>
                </c:pt>
                <c:pt idx="2177">
                  <c:v>17.705733759146938</c:v>
                </c:pt>
                <c:pt idx="2178">
                  <c:v>17.705733759146938</c:v>
                </c:pt>
                <c:pt idx="2179">
                  <c:v>17.694653296479601</c:v>
                </c:pt>
                <c:pt idx="2180">
                  <c:v>17.694321320074664</c:v>
                </c:pt>
                <c:pt idx="2181">
                  <c:v>17.691627336317538</c:v>
                </c:pt>
                <c:pt idx="2182">
                  <c:v>17.685815174859954</c:v>
                </c:pt>
                <c:pt idx="2183">
                  <c:v>17.68096077009784</c:v>
                </c:pt>
                <c:pt idx="2184">
                  <c:v>17.673864024287923</c:v>
                </c:pt>
                <c:pt idx="2185">
                  <c:v>17.66639712955407</c:v>
                </c:pt>
                <c:pt idx="2186">
                  <c:v>17.661912873715437</c:v>
                </c:pt>
                <c:pt idx="2187">
                  <c:v>17.651790167743684</c:v>
                </c:pt>
                <c:pt idx="2188">
                  <c:v>17.650260675776849</c:v>
                </c:pt>
                <c:pt idx="2189">
                  <c:v>17.641994289428453</c:v>
                </c:pt>
                <c:pt idx="2190">
                  <c:v>17.638010572571375</c:v>
                </c:pt>
                <c:pt idx="2191">
                  <c:v>17.6340268557135</c:v>
                </c:pt>
                <c:pt idx="2192">
                  <c:v>17.62693010990381</c:v>
                </c:pt>
                <c:pt idx="2193">
                  <c:v>17.622075705141583</c:v>
                </c:pt>
                <c:pt idx="2194">
                  <c:v>17.620252409289037</c:v>
                </c:pt>
                <c:pt idx="2195">
                  <c:v>17.609171946621814</c:v>
                </c:pt>
                <c:pt idx="2196">
                  <c:v>17.607969282312183</c:v>
                </c:pt>
                <c:pt idx="2197">
                  <c:v>17.603321612645118</c:v>
                </c:pt>
                <c:pt idx="2198">
                  <c:v>17.588714650834504</c:v>
                </c:pt>
                <c:pt idx="2199">
                  <c:v>17.582238536567047</c:v>
                </c:pt>
                <c:pt idx="2200">
                  <c:v>17.574271102852663</c:v>
                </c:pt>
                <c:pt idx="2201">
                  <c:v>17.570787924976344</c:v>
                </c:pt>
                <c:pt idx="2202">
                  <c:v>17.570287385995016</c:v>
                </c:pt>
                <c:pt idx="2203">
                  <c:v>17.558836774404085</c:v>
                </c:pt>
                <c:pt idx="2204">
                  <c:v>17.558336235422985</c:v>
                </c:pt>
                <c:pt idx="2205">
                  <c:v>17.534068934102379</c:v>
                </c:pt>
                <c:pt idx="2206">
                  <c:v>17.533563246373774</c:v>
                </c:pt>
                <c:pt idx="2207">
                  <c:v>17.511402321039213</c:v>
                </c:pt>
                <c:pt idx="2208">
                  <c:v>17.510906930805845</c:v>
                </c:pt>
                <c:pt idx="2209">
                  <c:v>17.494308110566521</c:v>
                </c:pt>
                <c:pt idx="2210">
                  <c:v>17.490613048847308</c:v>
                </c:pt>
                <c:pt idx="2211">
                  <c:v>17.478498484446277</c:v>
                </c:pt>
                <c:pt idx="2212">
                  <c:v>17.468539192302615</c:v>
                </c:pt>
                <c:pt idx="2213">
                  <c:v>17.466710747702678</c:v>
                </c:pt>
                <c:pt idx="2214">
                  <c:v>17.44882734311102</c:v>
                </c:pt>
                <c:pt idx="2215">
                  <c:v>17.435047747938711</c:v>
                </c:pt>
                <c:pt idx="2216">
                  <c:v>17.424718306871569</c:v>
                </c:pt>
                <c:pt idx="2217">
                  <c:v>17.42359713634778</c:v>
                </c:pt>
                <c:pt idx="2218">
                  <c:v>17.414051740651303</c:v>
                </c:pt>
                <c:pt idx="2219">
                  <c:v>17.411809399603612</c:v>
                </c:pt>
                <c:pt idx="2220">
                  <c:v>17.410068023793883</c:v>
                </c:pt>
                <c:pt idx="2221">
                  <c:v>17.39886231981734</c:v>
                </c:pt>
                <c:pt idx="2222">
                  <c:v>17.391020127412048</c:v>
                </c:pt>
                <c:pt idx="2223">
                  <c:v>17.380108227320761</c:v>
                </c:pt>
                <c:pt idx="2224">
                  <c:v>17.379068976839676</c:v>
                </c:pt>
                <c:pt idx="2225">
                  <c:v>17.375085259982257</c:v>
                </c:pt>
                <c:pt idx="2226">
                  <c:v>17.37110154312461</c:v>
                </c:pt>
                <c:pt idx="2227">
                  <c:v>17.359150392552465</c:v>
                </c:pt>
                <c:pt idx="2228">
                  <c:v>17.358279704647657</c:v>
                </c:pt>
                <c:pt idx="2229">
                  <c:v>17.355166675695045</c:v>
                </c:pt>
                <c:pt idx="2230">
                  <c:v>17.354295987790238</c:v>
                </c:pt>
                <c:pt idx="2231">
                  <c:v>17.331264374550756</c:v>
                </c:pt>
                <c:pt idx="2232">
                  <c:v>17.331264374550756</c:v>
                </c:pt>
                <c:pt idx="2233">
                  <c:v>17.330393686645607</c:v>
                </c:pt>
                <c:pt idx="2234">
                  <c:v>17.320352474459696</c:v>
                </c:pt>
                <c:pt idx="2235">
                  <c:v>17.312842258459114</c:v>
                </c:pt>
                <c:pt idx="2236">
                  <c:v>17.307362073406125</c:v>
                </c:pt>
                <c:pt idx="2237">
                  <c:v>17.303378356549047</c:v>
                </c:pt>
                <c:pt idx="2238">
                  <c:v>17.296118196910356</c:v>
                </c:pt>
                <c:pt idx="2239">
                  <c:v>17.276324853932692</c:v>
                </c:pt>
                <c:pt idx="2240">
                  <c:v>17.235655169972688</c:v>
                </c:pt>
                <c:pt idx="2241">
                  <c:v>17.216111883357371</c:v>
                </c:pt>
                <c:pt idx="2242">
                  <c:v>17.212917360619031</c:v>
                </c:pt>
                <c:pt idx="2243">
                  <c:v>17.183866850826348</c:v>
                </c:pt>
                <c:pt idx="2244">
                  <c:v>17.171915700254203</c:v>
                </c:pt>
                <c:pt idx="2245">
                  <c:v>17.165776711139756</c:v>
                </c:pt>
                <c:pt idx="2246">
                  <c:v>17.1653194934255</c:v>
                </c:pt>
                <c:pt idx="2247">
                  <c:v>17.159093861777137</c:v>
                </c:pt>
                <c:pt idx="2248">
                  <c:v>17.136062248537428</c:v>
                </c:pt>
                <c:pt idx="2249">
                  <c:v>17.132078531680349</c:v>
                </c:pt>
                <c:pt idx="2250">
                  <c:v>17.128725743861196</c:v>
                </c:pt>
                <c:pt idx="2251">
                  <c:v>17.120998069012899</c:v>
                </c:pt>
                <c:pt idx="2252">
                  <c:v>17.116143664250785</c:v>
                </c:pt>
                <c:pt idx="2253">
                  <c:v>17.104192513678527</c:v>
                </c:pt>
                <c:pt idx="2254">
                  <c:v>17.096431815059077</c:v>
                </c:pt>
                <c:pt idx="2255">
                  <c:v>17.08610237399148</c:v>
                </c:pt>
                <c:pt idx="2256">
                  <c:v>17.085438421182175</c:v>
                </c:pt>
                <c:pt idx="2257">
                  <c:v>17.075435807771782</c:v>
                </c:pt>
                <c:pt idx="2258">
                  <c:v>17.072322778818943</c:v>
                </c:pt>
                <c:pt idx="2259">
                  <c:v>17.063070760752112</c:v>
                </c:pt>
                <c:pt idx="2260">
                  <c:v>17.052072218127023</c:v>
                </c:pt>
                <c:pt idx="2261">
                  <c:v>17.031614922340054</c:v>
                </c:pt>
                <c:pt idx="2262">
                  <c:v>17.026346621130756</c:v>
                </c:pt>
                <c:pt idx="2263">
                  <c:v>17.02451817653025</c:v>
                </c:pt>
                <c:pt idx="2264">
                  <c:v>17.002444319986125</c:v>
                </c:pt>
                <c:pt idx="2265">
                  <c:v>16.988664724813589</c:v>
                </c:pt>
                <c:pt idx="2266">
                  <c:v>16.98069729109875</c:v>
                </c:pt>
                <c:pt idx="2267">
                  <c:v>16.968746140526605</c:v>
                </c:pt>
                <c:pt idx="2268">
                  <c:v>16.965926915459818</c:v>
                </c:pt>
                <c:pt idx="2269">
                  <c:v>16.928908971952183</c:v>
                </c:pt>
                <c:pt idx="2270">
                  <c:v>16.928908971952183</c:v>
                </c:pt>
                <c:pt idx="2271">
                  <c:v>16.912974104522959</c:v>
                </c:pt>
                <c:pt idx="2272">
                  <c:v>16.901893641855509</c:v>
                </c:pt>
                <c:pt idx="2273">
                  <c:v>16.889071803378329</c:v>
                </c:pt>
                <c:pt idx="2274">
                  <c:v>16.888201115473294</c:v>
                </c:pt>
                <c:pt idx="2275">
                  <c:v>16.844380230041793</c:v>
                </c:pt>
                <c:pt idx="2276">
                  <c:v>16.84126720108975</c:v>
                </c:pt>
                <c:pt idx="2277">
                  <c:v>16.833762133836899</c:v>
                </c:pt>
                <c:pt idx="2278">
                  <c:v>16.810268154135201</c:v>
                </c:pt>
                <c:pt idx="2279">
                  <c:v>16.796286972615007</c:v>
                </c:pt>
                <c:pt idx="2280">
                  <c:v>16.784210580733429</c:v>
                </c:pt>
                <c:pt idx="2281">
                  <c:v>16.76868960975105</c:v>
                </c:pt>
                <c:pt idx="2282">
                  <c:v>16.722256234348151</c:v>
                </c:pt>
                <c:pt idx="2283">
                  <c:v>16.706691515842181</c:v>
                </c:pt>
                <c:pt idx="2284">
                  <c:v>16.687899250826945</c:v>
                </c:pt>
                <c:pt idx="2285">
                  <c:v>16.677934809935778</c:v>
                </c:pt>
                <c:pt idx="2286">
                  <c:v>16.674821780983166</c:v>
                </c:pt>
                <c:pt idx="2287">
                  <c:v>16.671833993340101</c:v>
                </c:pt>
                <c:pt idx="2288">
                  <c:v>16.670010697487669</c:v>
                </c:pt>
                <c:pt idx="2289">
                  <c:v>16.646065075076422</c:v>
                </c:pt>
                <c:pt idx="2290">
                  <c:v>16.643909802819167</c:v>
                </c:pt>
                <c:pt idx="2291">
                  <c:v>16.635942369104669</c:v>
                </c:pt>
                <c:pt idx="2292">
                  <c:v>16.633493292961361</c:v>
                </c:pt>
                <c:pt idx="2293">
                  <c:v>16.622162773932132</c:v>
                </c:pt>
                <c:pt idx="2294">
                  <c:v>16.617308369169564</c:v>
                </c:pt>
                <c:pt idx="2295">
                  <c:v>16.612040067960038</c:v>
                </c:pt>
                <c:pt idx="2296">
                  <c:v>16.601373501740341</c:v>
                </c:pt>
                <c:pt idx="2297">
                  <c:v>16.596105200530246</c:v>
                </c:pt>
                <c:pt idx="2298">
                  <c:v>16.581454917453129</c:v>
                </c:pt>
                <c:pt idx="2299">
                  <c:v>16.574358171642871</c:v>
                </c:pt>
                <c:pt idx="2300">
                  <c:v>16.574358171642871</c:v>
                </c:pt>
                <c:pt idx="2301">
                  <c:v>16.561536333165918</c:v>
                </c:pt>
                <c:pt idx="2302">
                  <c:v>16.555310275261149</c:v>
                </c:pt>
                <c:pt idx="2303">
                  <c:v>16.540333164526601</c:v>
                </c:pt>
                <c:pt idx="2304">
                  <c:v>16.530080068497455</c:v>
                </c:pt>
                <c:pt idx="2305">
                  <c:v>16.529666598306903</c:v>
                </c:pt>
                <c:pt idx="2306">
                  <c:v>16.528256772644909</c:v>
                </c:pt>
                <c:pt idx="2307">
                  <c:v>16.52344054040168</c:v>
                </c:pt>
                <c:pt idx="2308">
                  <c:v>16.494226616780793</c:v>
                </c:pt>
                <c:pt idx="2309">
                  <c:v>16.492528562238022</c:v>
                </c:pt>
                <c:pt idx="2310">
                  <c:v>16.485845712875289</c:v>
                </c:pt>
                <c:pt idx="2311">
                  <c:v>16.482732683922677</c:v>
                </c:pt>
                <c:pt idx="2312">
                  <c:v>16.482732683922677</c:v>
                </c:pt>
                <c:pt idx="2313">
                  <c:v>16.473894562303144</c:v>
                </c:pt>
                <c:pt idx="2314">
                  <c:v>16.470781533350532</c:v>
                </c:pt>
                <c:pt idx="2315">
                  <c:v>16.430073676871643</c:v>
                </c:pt>
                <c:pt idx="2316">
                  <c:v>16.411025780489354</c:v>
                </c:pt>
                <c:pt idx="2317">
                  <c:v>16.411025780489354</c:v>
                </c:pt>
                <c:pt idx="2318">
                  <c:v>16.411025780489354</c:v>
                </c:pt>
                <c:pt idx="2319">
                  <c:v>16.399074629916981</c:v>
                </c:pt>
                <c:pt idx="2320">
                  <c:v>16.395297648155065</c:v>
                </c:pt>
                <c:pt idx="2321">
                  <c:v>16.384010450392566</c:v>
                </c:pt>
                <c:pt idx="2322">
                  <c:v>16.375172328772464</c:v>
                </c:pt>
                <c:pt idx="2323">
                  <c:v>16.367705434038839</c:v>
                </c:pt>
                <c:pt idx="2324">
                  <c:v>16.367204895057625</c:v>
                </c:pt>
                <c:pt idx="2325">
                  <c:v>16.360108149248049</c:v>
                </c:pt>
                <c:pt idx="2326">
                  <c:v>16.3592374613429</c:v>
                </c:pt>
                <c:pt idx="2327">
                  <c:v>16.338448189151222</c:v>
                </c:pt>
                <c:pt idx="2328">
                  <c:v>16.327079071345793</c:v>
                </c:pt>
                <c:pt idx="2329">
                  <c:v>16.319400292769046</c:v>
                </c:pt>
                <c:pt idx="2330">
                  <c:v>16.319400292769046</c:v>
                </c:pt>
                <c:pt idx="2331">
                  <c:v>16.318529604863897</c:v>
                </c:pt>
                <c:pt idx="2332">
                  <c:v>16.307449142196901</c:v>
                </c:pt>
                <c:pt idx="2333">
                  <c:v>16.303465425339255</c:v>
                </c:pt>
                <c:pt idx="2334">
                  <c:v>16.300352396386643</c:v>
                </c:pt>
                <c:pt idx="2335">
                  <c:v>16.300352396386643</c:v>
                </c:pt>
                <c:pt idx="2336">
                  <c:v>16.296205265701019</c:v>
                </c:pt>
                <c:pt idx="2337">
                  <c:v>16.278692436290044</c:v>
                </c:pt>
                <c:pt idx="2338">
                  <c:v>16.271595690480126</c:v>
                </c:pt>
                <c:pt idx="2339">
                  <c:v>16.254539652526546</c:v>
                </c:pt>
                <c:pt idx="2340">
                  <c:v>16.243709672478303</c:v>
                </c:pt>
                <c:pt idx="2341">
                  <c:v>16.240264667121096</c:v>
                </c:pt>
                <c:pt idx="2342">
                  <c:v>16.224661776096127</c:v>
                </c:pt>
                <c:pt idx="2343">
                  <c:v>16.199888787046689</c:v>
                </c:pt>
                <c:pt idx="2344">
                  <c:v>16.175986485902058</c:v>
                </c:pt>
                <c:pt idx="2345">
                  <c:v>16.175115797997478</c:v>
                </c:pt>
                <c:pt idx="2346">
                  <c:v>16.17200276904498</c:v>
                </c:pt>
                <c:pt idx="2347">
                  <c:v>16.156067901615188</c:v>
                </c:pt>
                <c:pt idx="2348">
                  <c:v>16.132040359161238</c:v>
                </c:pt>
                <c:pt idx="2349">
                  <c:v>16.125068854660753</c:v>
                </c:pt>
                <c:pt idx="2350">
                  <c:v>16.108263299326495</c:v>
                </c:pt>
                <c:pt idx="2351">
                  <c:v>16.091207261372801</c:v>
                </c:pt>
                <c:pt idx="2352">
                  <c:v>16.088344715039057</c:v>
                </c:pt>
                <c:pt idx="2353">
                  <c:v>16.0852316860869</c:v>
                </c:pt>
                <c:pt idx="2354">
                  <c:v>16.084360998181978</c:v>
                </c:pt>
                <c:pt idx="2355">
                  <c:v>16.072409847609606</c:v>
                </c:pt>
                <c:pt idx="2356">
                  <c:v>16.072409847609606</c:v>
                </c:pt>
                <c:pt idx="2357">
                  <c:v>16.063321243371092</c:v>
                </c:pt>
                <c:pt idx="2358">
                  <c:v>16.036556395892944</c:v>
                </c:pt>
                <c:pt idx="2359">
                  <c:v>16.035685707987909</c:v>
                </c:pt>
                <c:pt idx="2360">
                  <c:v>16.020621528463494</c:v>
                </c:pt>
                <c:pt idx="2361">
                  <c:v>16.0077996899862</c:v>
                </c:pt>
                <c:pt idx="2362">
                  <c:v>16.000702944176282</c:v>
                </c:pt>
                <c:pt idx="2363">
                  <c:v>15.997589915223671</c:v>
                </c:pt>
                <c:pt idx="2364">
                  <c:v>15.991864822556408</c:v>
                </c:pt>
                <c:pt idx="2365">
                  <c:v>15.98389738884191</c:v>
                </c:pt>
                <c:pt idx="2366">
                  <c:v>15.981655047793879</c:v>
                </c:pt>
                <c:pt idx="2367">
                  <c:v>15.966677937059785</c:v>
                </c:pt>
                <c:pt idx="2368">
                  <c:v>15.95999508769728</c:v>
                </c:pt>
                <c:pt idx="2369">
                  <c:v>15.898954750483767</c:v>
                </c:pt>
                <c:pt idx="2370">
                  <c:v>15.880200657987643</c:v>
                </c:pt>
                <c:pt idx="2371">
                  <c:v>15.877207721596392</c:v>
                </c:pt>
                <c:pt idx="2372">
                  <c:v>15.86629582150556</c:v>
                </c:pt>
                <c:pt idx="2373">
                  <c:v>15.861272854166828</c:v>
                </c:pt>
                <c:pt idx="2374">
                  <c:v>15.857289137309408</c:v>
                </c:pt>
                <c:pt idx="2375">
                  <c:v>15.846208674642071</c:v>
                </c:pt>
                <c:pt idx="2376">
                  <c:v>15.816793164673868</c:v>
                </c:pt>
                <c:pt idx="2377">
                  <c:v>15.812597563973441</c:v>
                </c:pt>
                <c:pt idx="2378">
                  <c:v>15.805500818163182</c:v>
                </c:pt>
                <c:pt idx="2379">
                  <c:v>15.800646413400727</c:v>
                </c:pt>
                <c:pt idx="2380">
                  <c:v>15.786452921781347</c:v>
                </c:pt>
                <c:pt idx="2381">
                  <c:v>15.724955793110098</c:v>
                </c:pt>
                <c:pt idx="2382">
                  <c:v>15.7218427641576</c:v>
                </c:pt>
                <c:pt idx="2383">
                  <c:v>15.693336114613203</c:v>
                </c:pt>
                <c:pt idx="2384">
                  <c:v>15.693086058250742</c:v>
                </c:pt>
                <c:pt idx="2385">
                  <c:v>15.690843717203279</c:v>
                </c:pt>
                <c:pt idx="2386">
                  <c:v>15.66918375710668</c:v>
                </c:pt>
                <c:pt idx="2387">
                  <c:v>15.662087011296421</c:v>
                </c:pt>
                <c:pt idx="2388">
                  <c:v>15.625362871675065</c:v>
                </c:pt>
                <c:pt idx="2389">
                  <c:v>15.615446900798247</c:v>
                </c:pt>
                <c:pt idx="2390">
                  <c:v>15.609014107797861</c:v>
                </c:pt>
                <c:pt idx="2391">
                  <c:v>15.591250795768019</c:v>
                </c:pt>
                <c:pt idx="2392">
                  <c:v>15.564986487271199</c:v>
                </c:pt>
                <c:pt idx="2393">
                  <c:v>15.558510373003855</c:v>
                </c:pt>
                <c:pt idx="2394">
                  <c:v>15.542080115341037</c:v>
                </c:pt>
                <c:pt idx="2395">
                  <c:v>15.530624355002033</c:v>
                </c:pt>
                <c:pt idx="2396">
                  <c:v>15.518384549292136</c:v>
                </c:pt>
                <c:pt idx="2397">
                  <c:v>15.501867649095175</c:v>
                </c:pt>
                <c:pt idx="2398">
                  <c:v>15.498754620143018</c:v>
                </c:pt>
                <c:pt idx="2399">
                  <c:v>15.489666015904049</c:v>
                </c:pt>
                <c:pt idx="2400">
                  <c:v>15.478172083046388</c:v>
                </c:pt>
                <c:pt idx="2401">
                  <c:v>15.477965347950999</c:v>
                </c:pt>
                <c:pt idx="2402">
                  <c:v>15.450786604025438</c:v>
                </c:pt>
                <c:pt idx="2403">
                  <c:v>15.446966300996678</c:v>
                </c:pt>
                <c:pt idx="2404">
                  <c:v>15.446095613091757</c:v>
                </c:pt>
                <c:pt idx="2405">
                  <c:v>15.410242161374981</c:v>
                </c:pt>
                <c:pt idx="2406">
                  <c:v>15.403145415565064</c:v>
                </c:pt>
                <c:pt idx="2407">
                  <c:v>15.386339860230692</c:v>
                </c:pt>
                <c:pt idx="2408">
                  <c:v>15.382562878468775</c:v>
                </c:pt>
                <c:pt idx="2409">
                  <c:v>15.379243114420319</c:v>
                </c:pt>
                <c:pt idx="2410">
                  <c:v>15.36816265175321</c:v>
                </c:pt>
                <c:pt idx="2411">
                  <c:v>15.367291963848288</c:v>
                </c:pt>
                <c:pt idx="2412">
                  <c:v>15.351357096418724</c:v>
                </c:pt>
                <c:pt idx="2413">
                  <c:v>15.351357096418724</c:v>
                </c:pt>
                <c:pt idx="2414">
                  <c:v>15.344428913185084</c:v>
                </c:pt>
                <c:pt idx="2415">
                  <c:v>15.339405945846465</c:v>
                </c:pt>
                <c:pt idx="2416">
                  <c:v>15.339405945846465</c:v>
                </c:pt>
                <c:pt idx="2417">
                  <c:v>15.335422228988818</c:v>
                </c:pt>
                <c:pt idx="2418">
                  <c:v>15.322600390511866</c:v>
                </c:pt>
                <c:pt idx="2419">
                  <c:v>15.319487361559482</c:v>
                </c:pt>
                <c:pt idx="2420">
                  <c:v>15.319487361559482</c:v>
                </c:pt>
                <c:pt idx="2421">
                  <c:v>15.319487361559482</c:v>
                </c:pt>
                <c:pt idx="2422">
                  <c:v>15.314632956797368</c:v>
                </c:pt>
                <c:pt idx="2423">
                  <c:v>15.307873336139664</c:v>
                </c:pt>
                <c:pt idx="2424">
                  <c:v>15.298698089367576</c:v>
                </c:pt>
                <c:pt idx="2425">
                  <c:v>15.291601343557204</c:v>
                </c:pt>
                <c:pt idx="2426">
                  <c:v>15.291601343557204</c:v>
                </c:pt>
                <c:pt idx="2427">
                  <c:v>15.286746938795432</c:v>
                </c:pt>
                <c:pt idx="2428">
                  <c:v>15.279650192985173</c:v>
                </c:pt>
                <c:pt idx="2429">
                  <c:v>15.275666476127981</c:v>
                </c:pt>
                <c:pt idx="2430">
                  <c:v>15.259731608698303</c:v>
                </c:pt>
                <c:pt idx="2431">
                  <c:v>15.25176417498335</c:v>
                </c:pt>
                <c:pt idx="2432">
                  <c:v>15.247780458126385</c:v>
                </c:pt>
                <c:pt idx="2433">
                  <c:v>15.247780458126385</c:v>
                </c:pt>
                <c:pt idx="2434">
                  <c:v>15.247780458126385</c:v>
                </c:pt>
                <c:pt idx="2435">
                  <c:v>15.215040035362222</c:v>
                </c:pt>
                <c:pt idx="2436">
                  <c:v>15.183170300502752</c:v>
                </c:pt>
                <c:pt idx="2437">
                  <c:v>15.183170300502752</c:v>
                </c:pt>
                <c:pt idx="2438">
                  <c:v>15.169934565578274</c:v>
                </c:pt>
                <c:pt idx="2439">
                  <c:v>15.16723543307296</c:v>
                </c:pt>
                <c:pt idx="2440">
                  <c:v>15.16723543307296</c:v>
                </c:pt>
                <c:pt idx="2441">
                  <c:v>15.155284282500816</c:v>
                </c:pt>
                <c:pt idx="2442">
                  <c:v>15.154701823476785</c:v>
                </c:pt>
                <c:pt idx="2443">
                  <c:v>15.151300565643169</c:v>
                </c:pt>
                <c:pt idx="2444">
                  <c:v>15.151300565643169</c:v>
                </c:pt>
                <c:pt idx="2445">
                  <c:v>15.143376453195287</c:v>
                </c:pt>
                <c:pt idx="2446">
                  <c:v>15.107811656616605</c:v>
                </c:pt>
                <c:pt idx="2447">
                  <c:v>15.107479680212123</c:v>
                </c:pt>
                <c:pt idx="2448">
                  <c:v>15.081460279329235</c:v>
                </c:pt>
                <c:pt idx="2449">
                  <c:v>15.079593662210186</c:v>
                </c:pt>
                <c:pt idx="2450">
                  <c:v>15.026558931230625</c:v>
                </c:pt>
                <c:pt idx="2451">
                  <c:v>15.003903041919102</c:v>
                </c:pt>
                <c:pt idx="2452">
                  <c:v>15.000833334233675</c:v>
                </c:pt>
                <c:pt idx="2453">
                  <c:v>14.995935608204263</c:v>
                </c:pt>
                <c:pt idx="2454">
                  <c:v>14.984855145537267</c:v>
                </c:pt>
                <c:pt idx="2455">
                  <c:v>14.960082156488056</c:v>
                </c:pt>
                <c:pt idx="2456">
                  <c:v>14.948131005915684</c:v>
                </c:pt>
                <c:pt idx="2457">
                  <c:v>14.938917160367396</c:v>
                </c:pt>
                <c:pt idx="2458">
                  <c:v>14.933066826390814</c:v>
                </c:pt>
                <c:pt idx="2459">
                  <c:v>14.933066826390814</c:v>
                </c:pt>
                <c:pt idx="2460">
                  <c:v>14.898084062579301</c:v>
                </c:pt>
                <c:pt idx="2461">
                  <c:v>14.889245940959313</c:v>
                </c:pt>
                <c:pt idx="2462">
                  <c:v>14.885262224102007</c:v>
                </c:pt>
                <c:pt idx="2463">
                  <c:v>14.881779046225574</c:v>
                </c:pt>
                <c:pt idx="2464">
                  <c:v>14.864222469291121</c:v>
                </c:pt>
                <c:pt idx="2465">
                  <c:v>14.844554367623118</c:v>
                </c:pt>
                <c:pt idx="2466">
                  <c:v>14.841277924841961</c:v>
                </c:pt>
                <c:pt idx="2467">
                  <c:v>14.813555320668797</c:v>
                </c:pt>
                <c:pt idx="2468">
                  <c:v>14.805587886953731</c:v>
                </c:pt>
                <c:pt idx="2469">
                  <c:v>14.769734435237069</c:v>
                </c:pt>
                <c:pt idx="2470">
                  <c:v>14.729897266663215</c:v>
                </c:pt>
                <c:pt idx="2471">
                  <c:v>14.729897266663215</c:v>
                </c:pt>
                <c:pt idx="2472">
                  <c:v>14.725042861900761</c:v>
                </c:pt>
                <c:pt idx="2473">
                  <c:v>14.709978682375777</c:v>
                </c:pt>
                <c:pt idx="2474">
                  <c:v>14.709978682375777</c:v>
                </c:pt>
                <c:pt idx="2475">
                  <c:v>14.686076381231715</c:v>
                </c:pt>
                <c:pt idx="2476">
                  <c:v>14.686076381231715</c:v>
                </c:pt>
                <c:pt idx="2477">
                  <c:v>14.670141513801809</c:v>
                </c:pt>
                <c:pt idx="2478">
                  <c:v>14.668356390468489</c:v>
                </c:pt>
                <c:pt idx="2479">
                  <c:v>14.662217401353814</c:v>
                </c:pt>
                <c:pt idx="2480">
                  <c:v>14.662174080087084</c:v>
                </c:pt>
                <c:pt idx="2481">
                  <c:v>14.652878740753067</c:v>
                </c:pt>
                <c:pt idx="2482">
                  <c:v>14.632671501327991</c:v>
                </c:pt>
                <c:pt idx="2483">
                  <c:v>14.62233691151323</c:v>
                </c:pt>
                <c:pt idx="2484">
                  <c:v>14.62233691151323</c:v>
                </c:pt>
                <c:pt idx="2485">
                  <c:v>14.618353194655583</c:v>
                </c:pt>
                <c:pt idx="2486">
                  <c:v>14.593580205606258</c:v>
                </c:pt>
                <c:pt idx="2487">
                  <c:v>14.583702407248552</c:v>
                </c:pt>
                <c:pt idx="2488">
                  <c:v>14.578516026081729</c:v>
                </c:pt>
                <c:pt idx="2489">
                  <c:v>14.564039454328281</c:v>
                </c:pt>
                <c:pt idx="2490">
                  <c:v>14.56258115865171</c:v>
                </c:pt>
                <c:pt idx="2491">
                  <c:v>14.558597441794632</c:v>
                </c:pt>
                <c:pt idx="2492">
                  <c:v>14.550630008079906</c:v>
                </c:pt>
                <c:pt idx="2493">
                  <c:v>14.549759320174644</c:v>
                </c:pt>
                <c:pt idx="2494">
                  <c:v>14.533824452744966</c:v>
                </c:pt>
                <c:pt idx="2495">
                  <c:v>14.530711423792695</c:v>
                </c:pt>
                <c:pt idx="2496">
                  <c:v>14.530711423792695</c:v>
                </c:pt>
                <c:pt idx="2497">
                  <c:v>14.505981756010328</c:v>
                </c:pt>
                <c:pt idx="2498">
                  <c:v>14.47381821726492</c:v>
                </c:pt>
                <c:pt idx="2499">
                  <c:v>14.471826358836552</c:v>
                </c:pt>
                <c:pt idx="2500">
                  <c:v>14.46697195407387</c:v>
                </c:pt>
                <c:pt idx="2501">
                  <c:v>14.46016901214989</c:v>
                </c:pt>
                <c:pt idx="2502">
                  <c:v>14.434231531309706</c:v>
                </c:pt>
                <c:pt idx="2503">
                  <c:v>14.40808688911784</c:v>
                </c:pt>
                <c:pt idx="2504">
                  <c:v>14.401409188503067</c:v>
                </c:pt>
                <c:pt idx="2505">
                  <c:v>14.395265050640432</c:v>
                </c:pt>
                <c:pt idx="2506">
                  <c:v>14.392152021688389</c:v>
                </c:pt>
                <c:pt idx="2507">
                  <c:v>14.392152021688389</c:v>
                </c:pt>
                <c:pt idx="2508">
                  <c:v>14.383313900068401</c:v>
                </c:pt>
                <c:pt idx="2509">
                  <c:v>14.375346466353562</c:v>
                </c:pt>
                <c:pt idx="2510">
                  <c:v>14.362524627876724</c:v>
                </c:pt>
                <c:pt idx="2511">
                  <c:v>14.339493014636787</c:v>
                </c:pt>
                <c:pt idx="2512">
                  <c:v>14.338001695189405</c:v>
                </c:pt>
                <c:pt idx="2513">
                  <c:v>14.335509297779709</c:v>
                </c:pt>
                <c:pt idx="2514">
                  <c:v>14.328412551969791</c:v>
                </c:pt>
                <c:pt idx="2515">
                  <c:v>14.326671176159721</c:v>
                </c:pt>
                <c:pt idx="2516">
                  <c:v>14.302768875015545</c:v>
                </c:pt>
                <c:pt idx="2517">
                  <c:v>14.298785158157784</c:v>
                </c:pt>
                <c:pt idx="2518">
                  <c:v>14.291688412348208</c:v>
                </c:pt>
                <c:pt idx="2519">
                  <c:v>14.275753544918189</c:v>
                </c:pt>
                <c:pt idx="2520">
                  <c:v>14.259818677489079</c:v>
                </c:pt>
                <c:pt idx="2521">
                  <c:v>14.249695971516871</c:v>
                </c:pt>
                <c:pt idx="2522">
                  <c:v>14.243013122154139</c:v>
                </c:pt>
                <c:pt idx="2523">
                  <c:v>14.237119040653965</c:v>
                </c:pt>
                <c:pt idx="2524">
                  <c:v>14.224835913676884</c:v>
                </c:pt>
                <c:pt idx="2525">
                  <c:v>14.215997792057351</c:v>
                </c:pt>
                <c:pt idx="2526">
                  <c:v>14.207159670437363</c:v>
                </c:pt>
                <c:pt idx="2527">
                  <c:v>14.207159670437363</c:v>
                </c:pt>
                <c:pt idx="2528">
                  <c:v>14.20404664148532</c:v>
                </c:pt>
                <c:pt idx="2529">
                  <c:v>14.200062924627673</c:v>
                </c:pt>
                <c:pt idx="2530">
                  <c:v>14.188111774055642</c:v>
                </c:pt>
                <c:pt idx="2531">
                  <c:v>14.134336745228438</c:v>
                </c:pt>
                <c:pt idx="2532">
                  <c:v>14.112421153764558</c:v>
                </c:pt>
                <c:pt idx="2533">
                  <c:v>14.104453720050174</c:v>
                </c:pt>
                <c:pt idx="2534">
                  <c:v>14.103583032145025</c:v>
                </c:pt>
                <c:pt idx="2535">
                  <c:v>14.09648628633488</c:v>
                </c:pt>
                <c:pt idx="2536">
                  <c:v>14.052665400903834</c:v>
                </c:pt>
                <c:pt idx="2537">
                  <c:v>14.047810996141379</c:v>
                </c:pt>
                <c:pt idx="2538">
                  <c:v>13.969007346897797</c:v>
                </c:pt>
                <c:pt idx="2539">
                  <c:v>13.961039913183299</c:v>
                </c:pt>
                <c:pt idx="2540">
                  <c:v>13.961039913183299</c:v>
                </c:pt>
                <c:pt idx="2541">
                  <c:v>13.953072479468574</c:v>
                </c:pt>
                <c:pt idx="2542">
                  <c:v>13.9349823397813</c:v>
                </c:pt>
                <c:pt idx="2543">
                  <c:v>13.933529192853143</c:v>
                </c:pt>
                <c:pt idx="2544">
                  <c:v>13.913235310894152</c:v>
                </c:pt>
                <c:pt idx="2545">
                  <c:v>13.900413472416858</c:v>
                </c:pt>
                <c:pt idx="2546">
                  <c:v>13.89730044346436</c:v>
                </c:pt>
                <c:pt idx="2547">
                  <c:v>13.896015859112367</c:v>
                </c:pt>
                <c:pt idx="2548">
                  <c:v>13.892446038702474</c:v>
                </c:pt>
                <c:pt idx="2549">
                  <c:v>13.882236263939603</c:v>
                </c:pt>
                <c:pt idx="2550">
                  <c:v>13.866763762972369</c:v>
                </c:pt>
                <c:pt idx="2551">
                  <c:v>13.855182761323817</c:v>
                </c:pt>
                <c:pt idx="2552">
                  <c:v>13.843024875656624</c:v>
                </c:pt>
                <c:pt idx="2553">
                  <c:v>13.841528407460714</c:v>
                </c:pt>
                <c:pt idx="2554">
                  <c:v>13.841528407460714</c:v>
                </c:pt>
                <c:pt idx="2555">
                  <c:v>13.800820550981712</c:v>
                </c:pt>
                <c:pt idx="2556">
                  <c:v>13.798578209934249</c:v>
                </c:pt>
                <c:pt idx="2557">
                  <c:v>13.753015948693019</c:v>
                </c:pt>
                <c:pt idx="2558">
                  <c:v>13.745919202883101</c:v>
                </c:pt>
                <c:pt idx="2559">
                  <c:v>13.745048514978066</c:v>
                </c:pt>
                <c:pt idx="2560">
                  <c:v>13.737081081263341</c:v>
                </c:pt>
                <c:pt idx="2561">
                  <c:v>13.732972123096602</c:v>
                </c:pt>
                <c:pt idx="2562">
                  <c:v>13.722016901738471</c:v>
                </c:pt>
                <c:pt idx="2563">
                  <c:v>13.693260195832067</c:v>
                </c:pt>
                <c:pt idx="2564">
                  <c:v>13.682179733164617</c:v>
                </c:pt>
                <c:pt idx="2565">
                  <c:v>13.679066704212119</c:v>
                </c:pt>
                <c:pt idx="2566">
                  <c:v>13.665374177830358</c:v>
                </c:pt>
                <c:pt idx="2567">
                  <c:v>13.643343642552736</c:v>
                </c:pt>
                <c:pt idx="2568">
                  <c:v>13.63437513087581</c:v>
                </c:pt>
                <c:pt idx="2569">
                  <c:v>13.633504442970775</c:v>
                </c:pt>
                <c:pt idx="2570">
                  <c:v>13.625537009255936</c:v>
                </c:pt>
                <c:pt idx="2571">
                  <c:v>13.614456546588485</c:v>
                </c:pt>
                <c:pt idx="2572">
                  <c:v>13.5626682274426</c:v>
                </c:pt>
                <c:pt idx="2573">
                  <c:v>13.558684510584953</c:v>
                </c:pt>
                <c:pt idx="2574">
                  <c:v>13.513992937248759</c:v>
                </c:pt>
                <c:pt idx="2575">
                  <c:v>13.506025503533806</c:v>
                </c:pt>
                <c:pt idx="2576">
                  <c:v>13.506025503533806</c:v>
                </c:pt>
                <c:pt idx="2577">
                  <c:v>13.490090636104128</c:v>
                </c:pt>
                <c:pt idx="2578">
                  <c:v>13.48818027146126</c:v>
                </c:pt>
                <c:pt idx="2579">
                  <c:v>13.486977607151402</c:v>
                </c:pt>
                <c:pt idx="2580">
                  <c:v>13.479010173436563</c:v>
                </c:pt>
                <c:pt idx="2581">
                  <c:v>13.47017205181703</c:v>
                </c:pt>
                <c:pt idx="2582">
                  <c:v>13.45909158914958</c:v>
                </c:pt>
                <c:pt idx="2583">
                  <c:v>13.455107872292501</c:v>
                </c:pt>
                <c:pt idx="2584">
                  <c:v>13.451124155434741</c:v>
                </c:pt>
                <c:pt idx="2585">
                  <c:v>13.442286033815435</c:v>
                </c:pt>
                <c:pt idx="2586">
                  <c:v>13.423238137432918</c:v>
                </c:pt>
                <c:pt idx="2587">
                  <c:v>13.414400015813612</c:v>
                </c:pt>
                <c:pt idx="2588">
                  <c:v>13.410416298955624</c:v>
                </c:pt>
                <c:pt idx="2589">
                  <c:v>13.407139856174922</c:v>
                </c:pt>
                <c:pt idx="2590">
                  <c:v>13.402448865240785</c:v>
                </c:pt>
                <c:pt idx="2591">
                  <c:v>13.368336789334421</c:v>
                </c:pt>
                <c:pt idx="2592">
                  <c:v>13.354644262952206</c:v>
                </c:pt>
                <c:pt idx="2593">
                  <c:v>13.338709395522301</c:v>
                </c:pt>
                <c:pt idx="2594">
                  <c:v>13.338627475479939</c:v>
                </c:pt>
                <c:pt idx="2595">
                  <c:v>13.334725678665109</c:v>
                </c:pt>
                <c:pt idx="2596">
                  <c:v>13.323519974688566</c:v>
                </c:pt>
                <c:pt idx="2597">
                  <c:v>13.3068396606634</c:v>
                </c:pt>
                <c:pt idx="2598">
                  <c:v>13.288662452186145</c:v>
                </c:pt>
                <c:pt idx="2599">
                  <c:v>13.287791764280882</c:v>
                </c:pt>
                <c:pt idx="2600">
                  <c:v>13.283018853304725</c:v>
                </c:pt>
                <c:pt idx="2601">
                  <c:v>13.28016145571894</c:v>
                </c:pt>
                <c:pt idx="2602">
                  <c:v>13.251067624659754</c:v>
                </c:pt>
                <c:pt idx="2603">
                  <c:v>13.251067624659754</c:v>
                </c:pt>
                <c:pt idx="2604">
                  <c:v>13.232688829834842</c:v>
                </c:pt>
                <c:pt idx="2605">
                  <c:v>13.202849125923194</c:v>
                </c:pt>
                <c:pt idx="2606">
                  <c:v>13.172263975416172</c:v>
                </c:pt>
                <c:pt idx="2607">
                  <c:v>13.168280258558866</c:v>
                </c:pt>
                <c:pt idx="2608">
                  <c:v>13.160187583534707</c:v>
                </c:pt>
                <c:pt idx="2609">
                  <c:v>13.131556118937283</c:v>
                </c:pt>
                <c:pt idx="2610">
                  <c:v>13.124459373127365</c:v>
                </c:pt>
                <c:pt idx="2611">
                  <c:v>13.124459373127365</c:v>
                </c:pt>
                <c:pt idx="2612">
                  <c:v>13.111637534650072</c:v>
                </c:pt>
                <c:pt idx="2613">
                  <c:v>13.109395193602609</c:v>
                </c:pt>
                <c:pt idx="2614">
                  <c:v>13.103670100935233</c:v>
                </c:pt>
                <c:pt idx="2615">
                  <c:v>13.096573355125543</c:v>
                </c:pt>
                <c:pt idx="2616">
                  <c:v>13.080638487695865</c:v>
                </c:pt>
                <c:pt idx="2617">
                  <c:v>13.07578408293341</c:v>
                </c:pt>
                <c:pt idx="2618">
                  <c:v>13.0685620958144</c:v>
                </c:pt>
                <c:pt idx="2619">
                  <c:v>13.051881781789348</c:v>
                </c:pt>
                <c:pt idx="2620">
                  <c:v>13.047898064931587</c:v>
                </c:pt>
                <c:pt idx="2621">
                  <c:v>13.012044613214812</c:v>
                </c:pt>
                <c:pt idx="2622">
                  <c:v>12.999140854695383</c:v>
                </c:pt>
                <c:pt idx="2623">
                  <c:v>12.960256294068586</c:v>
                </c:pt>
                <c:pt idx="2624">
                  <c:v>12.953159548258668</c:v>
                </c:pt>
                <c:pt idx="2625">
                  <c:v>12.945192114543829</c:v>
                </c:pt>
                <c:pt idx="2626">
                  <c:v>12.944321426639362</c:v>
                </c:pt>
                <c:pt idx="2627">
                  <c:v>12.940337709781602</c:v>
                </c:pt>
                <c:pt idx="2628">
                  <c:v>12.936897853172354</c:v>
                </c:pt>
                <c:pt idx="2629">
                  <c:v>12.891950648469219</c:v>
                </c:pt>
                <c:pt idx="2630">
                  <c:v>12.884565673777843</c:v>
                </c:pt>
                <c:pt idx="2631">
                  <c:v>12.848712222061181</c:v>
                </c:pt>
                <c:pt idx="2632">
                  <c:v>12.820826204059358</c:v>
                </c:pt>
                <c:pt idx="2633">
                  <c:v>12.818583863011668</c:v>
                </c:pt>
                <c:pt idx="2634">
                  <c:v>12.809745741392362</c:v>
                </c:pt>
                <c:pt idx="2635">
                  <c:v>12.796923902915296</c:v>
                </c:pt>
                <c:pt idx="2636">
                  <c:v>12.793810873962684</c:v>
                </c:pt>
                <c:pt idx="2637">
                  <c:v>12.781859723390085</c:v>
                </c:pt>
                <c:pt idx="2638">
                  <c:v>12.761070451198066</c:v>
                </c:pt>
                <c:pt idx="2639">
                  <c:v>12.753973705388148</c:v>
                </c:pt>
                <c:pt idx="2640">
                  <c:v>12.74849866908346</c:v>
                </c:pt>
                <c:pt idx="2641">
                  <c:v>12.737168150053776</c:v>
                </c:pt>
                <c:pt idx="2642">
                  <c:v>12.730942092148666</c:v>
                </c:pt>
                <c:pt idx="2643">
                  <c:v>12.706169103099455</c:v>
                </c:pt>
                <c:pt idx="2644">
                  <c:v>12.69820166938473</c:v>
                </c:pt>
                <c:pt idx="2645">
                  <c:v>12.662348217667954</c:v>
                </c:pt>
                <c:pt idx="2646">
                  <c:v>12.657493812905841</c:v>
                </c:pt>
                <c:pt idx="2647">
                  <c:v>12.646413350238163</c:v>
                </c:pt>
                <c:pt idx="2648">
                  <c:v>12.63047848280894</c:v>
                </c:pt>
                <c:pt idx="2649">
                  <c:v>12.604127105521457</c:v>
                </c:pt>
                <c:pt idx="2650">
                  <c:v>12.59860874794947</c:v>
                </c:pt>
                <c:pt idx="2651">
                  <c:v>12.553917174613275</c:v>
                </c:pt>
                <c:pt idx="2652">
                  <c:v>12.543707399850405</c:v>
                </c:pt>
                <c:pt idx="2653">
                  <c:v>12.542836711945938</c:v>
                </c:pt>
                <c:pt idx="2654">
                  <c:v>12.538852995088405</c:v>
                </c:pt>
                <c:pt idx="2655">
                  <c:v>12.531756249278146</c:v>
                </c:pt>
                <c:pt idx="2656">
                  <c:v>12.518063722896727</c:v>
                </c:pt>
                <c:pt idx="2657">
                  <c:v>12.514080006038853</c:v>
                </c:pt>
                <c:pt idx="2658">
                  <c:v>12.49814513860963</c:v>
                </c:pt>
                <c:pt idx="2659">
                  <c:v>12.483080959084532</c:v>
                </c:pt>
                <c:pt idx="2660">
                  <c:v>12.43440566889069</c:v>
                </c:pt>
                <c:pt idx="2661">
                  <c:v>12.417556366032841</c:v>
                </c:pt>
                <c:pt idx="2662">
                  <c:v>12.380375008697001</c:v>
                </c:pt>
                <c:pt idx="2663">
                  <c:v>12.34676389802803</c:v>
                </c:pt>
                <c:pt idx="2664">
                  <c:v>12.334812747455544</c:v>
                </c:pt>
                <c:pt idx="2665">
                  <c:v>12.326845313740932</c:v>
                </c:pt>
                <c:pt idx="2666">
                  <c:v>12.318877880026321</c:v>
                </c:pt>
                <c:pt idx="2667">
                  <c:v>12.304684388406145</c:v>
                </c:pt>
                <c:pt idx="2668">
                  <c:v>12.280575352166466</c:v>
                </c:pt>
                <c:pt idx="2669">
                  <c:v>12.275927682499287</c:v>
                </c:pt>
                <c:pt idx="2670">
                  <c:v>12.271073277737401</c:v>
                </c:pt>
                <c:pt idx="2671">
                  <c:v>12.255138410307609</c:v>
                </c:pt>
                <c:pt idx="2672">
                  <c:v>12.243187259735123</c:v>
                </c:pt>
                <c:pt idx="2673">
                  <c:v>12.228329815305756</c:v>
                </c:pt>
                <c:pt idx="2674">
                  <c:v>12.22812308021048</c:v>
                </c:pt>
                <c:pt idx="2675">
                  <c:v>12.219284958590947</c:v>
                </c:pt>
                <c:pt idx="2676">
                  <c:v>12.211317524876108</c:v>
                </c:pt>
                <c:pt idx="2677">
                  <c:v>12.19538265744643</c:v>
                </c:pt>
                <c:pt idx="2678">
                  <c:v>12.191398940589238</c:v>
                </c:pt>
                <c:pt idx="2679">
                  <c:v>12.174881614135529</c:v>
                </c:pt>
                <c:pt idx="2680">
                  <c:v>12.149651407371948</c:v>
                </c:pt>
                <c:pt idx="2681">
                  <c:v>12.129400846680255</c:v>
                </c:pt>
                <c:pt idx="2682">
                  <c:v>12.111724603440734</c:v>
                </c:pt>
                <c:pt idx="2683">
                  <c:v>12.095789736011284</c:v>
                </c:pt>
                <c:pt idx="2684">
                  <c:v>12.087822302296217</c:v>
                </c:pt>
                <c:pt idx="2685">
                  <c:v>12.080061603676768</c:v>
                </c:pt>
                <c:pt idx="2686">
                  <c:v>12.068774405914382</c:v>
                </c:pt>
                <c:pt idx="2687">
                  <c:v>12.067903718009234</c:v>
                </c:pt>
                <c:pt idx="2688">
                  <c:v>12.005034936195329</c:v>
                </c:pt>
                <c:pt idx="2689">
                  <c:v>12.000180531433557</c:v>
                </c:pt>
                <c:pt idx="2690">
                  <c:v>11.997067502480832</c:v>
                </c:pt>
                <c:pt idx="2691">
                  <c:v>11.970052172383703</c:v>
                </c:pt>
                <c:pt idx="2692">
                  <c:v>11.954117304954366</c:v>
                </c:pt>
                <c:pt idx="2693">
                  <c:v>11.940424778572037</c:v>
                </c:pt>
                <c:pt idx="2694">
                  <c:v>11.940424778572037</c:v>
                </c:pt>
                <c:pt idx="2695">
                  <c:v>11.940424778572037</c:v>
                </c:pt>
                <c:pt idx="2696">
                  <c:v>11.901458297903105</c:v>
                </c:pt>
                <c:pt idx="2697">
                  <c:v>11.893490864188038</c:v>
                </c:pt>
                <c:pt idx="2698">
                  <c:v>11.888636459425811</c:v>
                </c:pt>
                <c:pt idx="2699">
                  <c:v>11.887019898668768</c:v>
                </c:pt>
                <c:pt idx="2700">
                  <c:v>11.84481557399431</c:v>
                </c:pt>
                <c:pt idx="2701">
                  <c:v>11.84481557399431</c:v>
                </c:pt>
                <c:pt idx="2702">
                  <c:v>11.838589516089428</c:v>
                </c:pt>
                <c:pt idx="2703">
                  <c:v>11.83771882818462</c:v>
                </c:pt>
                <c:pt idx="2704">
                  <c:v>11.836848140279585</c:v>
                </c:pt>
                <c:pt idx="2705">
                  <c:v>11.805723852015831</c:v>
                </c:pt>
                <c:pt idx="2706">
                  <c:v>11.785059821133473</c:v>
                </c:pt>
                <c:pt idx="2707">
                  <c:v>11.778501786823426</c:v>
                </c:pt>
                <c:pt idx="2708">
                  <c:v>11.773190164346943</c:v>
                </c:pt>
                <c:pt idx="2709">
                  <c:v>11.769124953703681</c:v>
                </c:pt>
                <c:pt idx="2710">
                  <c:v>11.754060774179038</c:v>
                </c:pt>
                <c:pt idx="2711">
                  <c:v>11.74522265255905</c:v>
                </c:pt>
                <c:pt idx="2712">
                  <c:v>11.689450616555405</c:v>
                </c:pt>
                <c:pt idx="2713">
                  <c:v>11.681483182840566</c:v>
                </c:pt>
                <c:pt idx="2714">
                  <c:v>11.665548315410888</c:v>
                </c:pt>
                <c:pt idx="2715">
                  <c:v>11.65758088169639</c:v>
                </c:pt>
                <c:pt idx="2716">
                  <c:v>11.624132758598876</c:v>
                </c:pt>
                <c:pt idx="2717">
                  <c:v>11.609776279407015</c:v>
                </c:pt>
                <c:pt idx="2718">
                  <c:v>11.606663250454517</c:v>
                </c:pt>
                <c:pt idx="2719">
                  <c:v>11.606663250454517</c:v>
                </c:pt>
                <c:pt idx="2720">
                  <c:v>11.565955393975514</c:v>
                </c:pt>
                <c:pt idx="2721">
                  <c:v>11.561971677118549</c:v>
                </c:pt>
                <c:pt idx="2722">
                  <c:v>11.534956347021534</c:v>
                </c:pt>
                <c:pt idx="2723">
                  <c:v>11.506199641114677</c:v>
                </c:pt>
                <c:pt idx="2724">
                  <c:v>11.490264773684999</c:v>
                </c:pt>
                <c:pt idx="2725">
                  <c:v>11.478563679475087</c:v>
                </c:pt>
                <c:pt idx="2726">
                  <c:v>11.468103848350552</c:v>
                </c:pt>
                <c:pt idx="2727">
                  <c:v>11.467233160445403</c:v>
                </c:pt>
                <c:pt idx="2728">
                  <c:v>11.447689873830086</c:v>
                </c:pt>
                <c:pt idx="2729">
                  <c:v>11.403493690727032</c:v>
                </c:pt>
                <c:pt idx="2730">
                  <c:v>11.398639285964691</c:v>
                </c:pt>
                <c:pt idx="2731">
                  <c:v>11.398639285964691</c:v>
                </c:pt>
                <c:pt idx="2732">
                  <c:v>11.377931507558515</c:v>
                </c:pt>
                <c:pt idx="2733">
                  <c:v>11.35967280529519</c:v>
                </c:pt>
                <c:pt idx="2734">
                  <c:v>11.354818400532963</c:v>
                </c:pt>
                <c:pt idx="2735">
                  <c:v>11.342867249960932</c:v>
                </c:pt>
                <c:pt idx="2736">
                  <c:v>11.313070867316128</c:v>
                </c:pt>
                <c:pt idx="2737">
                  <c:v>11.311868203006611</c:v>
                </c:pt>
                <c:pt idx="2738">
                  <c:v>11.308341703863334</c:v>
                </c:pt>
                <c:pt idx="2739">
                  <c:v>11.287965901861867</c:v>
                </c:pt>
                <c:pt idx="2740">
                  <c:v>11.272031034432644</c:v>
                </c:pt>
                <c:pt idx="2741">
                  <c:v>11.272031034432644</c:v>
                </c:pt>
                <c:pt idx="2742">
                  <c:v>11.264564139698791</c:v>
                </c:pt>
                <c:pt idx="2743">
                  <c:v>11.235306894810947</c:v>
                </c:pt>
                <c:pt idx="2744">
                  <c:v>11.200324130999206</c:v>
                </c:pt>
                <c:pt idx="2745">
                  <c:v>11.163599991377623</c:v>
                </c:pt>
                <c:pt idx="2746">
                  <c:v>11.131730256518608</c:v>
                </c:pt>
                <c:pt idx="2747">
                  <c:v>11.119779105945781</c:v>
                </c:pt>
                <c:pt idx="2748">
                  <c:v>11.108698643278444</c:v>
                </c:pt>
                <c:pt idx="2749">
                  <c:v>11.108698643278444</c:v>
                </c:pt>
                <c:pt idx="2750">
                  <c:v>11.057781012037594</c:v>
                </c:pt>
                <c:pt idx="2751">
                  <c:v>11.052926607274799</c:v>
                </c:pt>
                <c:pt idx="2752">
                  <c:v>11.033008022987815</c:v>
                </c:pt>
                <c:pt idx="2753">
                  <c:v>11.032137335083348</c:v>
                </c:pt>
                <c:pt idx="2754">
                  <c:v>11.028153618225588</c:v>
                </c:pt>
                <c:pt idx="2755">
                  <c:v>11.020186184510749</c:v>
                </c:pt>
                <c:pt idx="2756">
                  <c:v>11.009274284419917</c:v>
                </c:pt>
                <c:pt idx="2757">
                  <c:v>11.000267600223879</c:v>
                </c:pt>
                <c:pt idx="2758">
                  <c:v>10.997323133847317</c:v>
                </c:pt>
                <c:pt idx="2759">
                  <c:v>10.990057825461463</c:v>
                </c:pt>
                <c:pt idx="2760">
                  <c:v>10.971053676602878</c:v>
                </c:pt>
                <c:pt idx="2761">
                  <c:v>10.968397865364295</c:v>
                </c:pt>
                <c:pt idx="2762">
                  <c:v>10.950220656886927</c:v>
                </c:pt>
                <c:pt idx="2763">
                  <c:v>10.937110163272109</c:v>
                </c:pt>
                <c:pt idx="2764">
                  <c:v>10.896690961931427</c:v>
                </c:pt>
                <c:pt idx="2765">
                  <c:v>10.885485257954315</c:v>
                </c:pt>
                <c:pt idx="2766">
                  <c:v>10.880756094501635</c:v>
                </c:pt>
                <c:pt idx="2767">
                  <c:v>10.877643065549023</c:v>
                </c:pt>
                <c:pt idx="2768">
                  <c:v>10.85685379335689</c:v>
                </c:pt>
                <c:pt idx="2769">
                  <c:v>10.83693520907002</c:v>
                </c:pt>
                <c:pt idx="2770">
                  <c:v>10.798839416305896</c:v>
                </c:pt>
                <c:pt idx="2771">
                  <c:v>10.786017577828602</c:v>
                </c:pt>
                <c:pt idx="2772">
                  <c:v>10.765228305636811</c:v>
                </c:pt>
                <c:pt idx="2773">
                  <c:v>10.761244588779505</c:v>
                </c:pt>
                <c:pt idx="2774">
                  <c:v>10.749293438206905</c:v>
                </c:pt>
                <c:pt idx="2775">
                  <c:v>10.746180409254748</c:v>
                </c:pt>
                <c:pt idx="2776">
                  <c:v>10.733358570777682</c:v>
                </c:pt>
                <c:pt idx="2777">
                  <c:v>10.721407420205082</c:v>
                </c:pt>
                <c:pt idx="2778">
                  <c:v>10.711823425733428</c:v>
                </c:pt>
                <c:pt idx="2779">
                  <c:v>10.689537685346181</c:v>
                </c:pt>
                <c:pt idx="2780">
                  <c:v>10.648122128533942</c:v>
                </c:pt>
                <c:pt idx="2781">
                  <c:v>10.64173308305692</c:v>
                </c:pt>
                <c:pt idx="2782">
                  <c:v>10.615588440865167</c:v>
                </c:pt>
                <c:pt idx="2783">
                  <c:v>10.606750319245293</c:v>
                </c:pt>
                <c:pt idx="2784">
                  <c:v>10.603637290292568</c:v>
                </c:pt>
                <c:pt idx="2785">
                  <c:v>10.602766602387874</c:v>
                </c:pt>
                <c:pt idx="2786">
                  <c:v>10.593928480768113</c:v>
                </c:pt>
                <c:pt idx="2787">
                  <c:v>10.581977330195855</c:v>
                </c:pt>
                <c:pt idx="2788">
                  <c:v>10.559282842109042</c:v>
                </c:pt>
                <c:pt idx="2789">
                  <c:v>10.554091312194259</c:v>
                </c:pt>
                <c:pt idx="2790">
                  <c:v>10.542140161621774</c:v>
                </c:pt>
                <c:pt idx="2791">
                  <c:v>10.537742548317169</c:v>
                </c:pt>
                <c:pt idx="2792">
                  <c:v>10.530189011049629</c:v>
                </c:pt>
                <c:pt idx="2793">
                  <c:v>10.507157397810147</c:v>
                </c:pt>
                <c:pt idx="2794">
                  <c:v>10.490351842475775</c:v>
                </c:pt>
                <c:pt idx="2795">
                  <c:v>10.427483060661757</c:v>
                </c:pt>
                <c:pt idx="2796">
                  <c:v>10.422628655899416</c:v>
                </c:pt>
                <c:pt idx="2797">
                  <c:v>10.378807770468484</c:v>
                </c:pt>
                <c:pt idx="2798">
                  <c:v>10.372581712563147</c:v>
                </c:pt>
                <c:pt idx="2799">
                  <c:v>10.356646845133469</c:v>
                </c:pt>
                <c:pt idx="2800">
                  <c:v>10.354823549280809</c:v>
                </c:pt>
                <c:pt idx="2801">
                  <c:v>10.346938035608787</c:v>
                </c:pt>
                <c:pt idx="2802">
                  <c:v>10.331003168179109</c:v>
                </c:pt>
                <c:pt idx="2803">
                  <c:v>10.319052017607078</c:v>
                </c:pt>
                <c:pt idx="2804">
                  <c:v>10.267263698460738</c:v>
                </c:pt>
                <c:pt idx="2805">
                  <c:v>10.255312547888479</c:v>
                </c:pt>
                <c:pt idx="2806">
                  <c:v>10.231410246743962</c:v>
                </c:pt>
                <c:pt idx="2807">
                  <c:v>10.215475379314171</c:v>
                </c:pt>
                <c:pt idx="2808">
                  <c:v>10.159703343310525</c:v>
                </c:pt>
                <c:pt idx="2809">
                  <c:v>10.12384989159375</c:v>
                </c:pt>
                <c:pt idx="2810">
                  <c:v>10.111898741021832</c:v>
                </c:pt>
                <c:pt idx="2811">
                  <c:v>10.068077855590332</c:v>
                </c:pt>
                <c:pt idx="2812">
                  <c:v>10.065835514542755</c:v>
                </c:pt>
                <c:pt idx="2813">
                  <c:v>10.060110421875265</c:v>
                </c:pt>
                <c:pt idx="2814">
                  <c:v>10.051892505541787</c:v>
                </c:pt>
                <c:pt idx="2815">
                  <c:v>10.036208120731203</c:v>
                </c:pt>
                <c:pt idx="2816">
                  <c:v>10.016289536443765</c:v>
                </c:pt>
                <c:pt idx="2817">
                  <c:v>10.009192790634074</c:v>
                </c:pt>
                <c:pt idx="2818">
                  <c:v>9.9963709521567807</c:v>
                </c:pt>
                <c:pt idx="2819">
                  <c:v>9.9874890830136565</c:v>
                </c:pt>
                <c:pt idx="2820">
                  <c:v>9.9565337835829268</c:v>
                </c:pt>
                <c:pt idx="2821">
                  <c:v>9.95255006672528</c:v>
                </c:pt>
                <c:pt idx="2822">
                  <c:v>9.9485663498679742</c:v>
                </c:pt>
                <c:pt idx="2823">
                  <c:v>9.9414696040582839</c:v>
                </c:pt>
                <c:pt idx="2824">
                  <c:v>9.9166966150086182</c:v>
                </c:pt>
                <c:pt idx="2825">
                  <c:v>9.9087291812941203</c:v>
                </c:pt>
                <c:pt idx="2826">
                  <c:v>9.8896812849116031</c:v>
                </c:pt>
                <c:pt idx="2827">
                  <c:v>9.8888105970067954</c:v>
                </c:pt>
                <c:pt idx="2828">
                  <c:v>9.8860728657258505</c:v>
                </c:pt>
                <c:pt idx="2829">
                  <c:v>9.8808431632924112</c:v>
                </c:pt>
                <c:pt idx="2830">
                  <c:v>9.8768594464347643</c:v>
                </c:pt>
                <c:pt idx="2831">
                  <c:v>9.8728757295771175</c:v>
                </c:pt>
                <c:pt idx="2832">
                  <c:v>9.8649082958625058</c:v>
                </c:pt>
                <c:pt idx="2833">
                  <c:v>9.8449897115752947</c:v>
                </c:pt>
                <c:pt idx="2834">
                  <c:v>9.8259418151932323</c:v>
                </c:pt>
                <c:pt idx="2835">
                  <c:v>9.8171036935733582</c:v>
                </c:pt>
                <c:pt idx="2836">
                  <c:v>9.801168826144135</c:v>
                </c:pt>
                <c:pt idx="2837">
                  <c:v>9.7772665249995043</c:v>
                </c:pt>
                <c:pt idx="2838">
                  <c:v>9.7692990912846653</c:v>
                </c:pt>
                <c:pt idx="2839">
                  <c:v>9.761331657569599</c:v>
                </c:pt>
                <c:pt idx="2840">
                  <c:v>9.75336422385476</c:v>
                </c:pt>
                <c:pt idx="2841">
                  <c:v>9.7414945670685711</c:v>
                </c:pt>
                <c:pt idx="2842">
                  <c:v>9.7223651769008939</c:v>
                </c:pt>
                <c:pt idx="2843">
                  <c:v>9.7152684310907489</c:v>
                </c:pt>
                <c:pt idx="2844">
                  <c:v>9.6745605746116325</c:v>
                </c:pt>
                <c:pt idx="2845">
                  <c:v>9.6586690284487986</c:v>
                </c:pt>
                <c:pt idx="2846">
                  <c:v>9.6378364349903904</c:v>
                </c:pt>
                <c:pt idx="2847">
                  <c:v>9.6219015675605988</c:v>
                </c:pt>
                <c:pt idx="2848">
                  <c:v>9.6068373880358422</c:v>
                </c:pt>
                <c:pt idx="2849">
                  <c:v>9.5581620978421142</c:v>
                </c:pt>
                <c:pt idx="2850">
                  <c:v>9.5462109472696284</c:v>
                </c:pt>
                <c:pt idx="2851">
                  <c:v>9.5183249292676919</c:v>
                </c:pt>
                <c:pt idx="2852">
                  <c:v>9.5183249292676919</c:v>
                </c:pt>
                <c:pt idx="2853">
                  <c:v>9.5102755755104909</c:v>
                </c:pt>
                <c:pt idx="2854">
                  <c:v>9.502390061838355</c:v>
                </c:pt>
                <c:pt idx="2855">
                  <c:v>9.4904389112659828</c:v>
                </c:pt>
                <c:pt idx="2856">
                  <c:v>9.4793584485988731</c:v>
                </c:pt>
                <c:pt idx="2857">
                  <c:v>9.4753747317412262</c:v>
                </c:pt>
                <c:pt idx="2858">
                  <c:v>9.4745040438360775</c:v>
                </c:pt>
                <c:pt idx="2859">
                  <c:v>9.4585691764068542</c:v>
                </c:pt>
                <c:pt idx="2860">
                  <c:v>9.4275701294524197</c:v>
                </c:pt>
                <c:pt idx="2861">
                  <c:v>9.4266994415472709</c:v>
                </c:pt>
                <c:pt idx="2862">
                  <c:v>9.4147482909753535</c:v>
                </c:pt>
                <c:pt idx="2863">
                  <c:v>9.3988134235455618</c:v>
                </c:pt>
                <c:pt idx="2864">
                  <c:v>9.3988134235455618</c:v>
                </c:pt>
                <c:pt idx="2865">
                  <c:v>9.386862272973417</c:v>
                </c:pt>
                <c:pt idx="2866">
                  <c:v>9.3828785561163386</c:v>
                </c:pt>
                <c:pt idx="2867">
                  <c:v>9.3669436886864332</c:v>
                </c:pt>
                <c:pt idx="2868">
                  <c:v>9.3549925381140611</c:v>
                </c:pt>
                <c:pt idx="2869">
                  <c:v>9.3111716526827877</c:v>
                </c:pt>
                <c:pt idx="2870">
                  <c:v>9.2952367852532234</c:v>
                </c:pt>
                <c:pt idx="2871">
                  <c:v>9.2952367852532234</c:v>
                </c:pt>
                <c:pt idx="2872">
                  <c:v>9.2682214551558673</c:v>
                </c:pt>
                <c:pt idx="2873">
                  <c:v>9.2642377382986751</c:v>
                </c:pt>
                <c:pt idx="2874">
                  <c:v>9.2593833335365616</c:v>
                </c:pt>
                <c:pt idx="2875">
                  <c:v>9.2514158998214953</c:v>
                </c:pt>
                <c:pt idx="2876">
                  <c:v>9.2514158998214953</c:v>
                </c:pt>
                <c:pt idx="2877">
                  <c:v>9.2443191540116914</c:v>
                </c:pt>
                <c:pt idx="2878">
                  <c:v>9.2235298818196725</c:v>
                </c:pt>
                <c:pt idx="2879">
                  <c:v>9.2075950143901082</c:v>
                </c:pt>
                <c:pt idx="2880">
                  <c:v>9.2036112975328024</c:v>
                </c:pt>
                <c:pt idx="2881">
                  <c:v>9.1757252795305249</c:v>
                </c:pt>
                <c:pt idx="2882">
                  <c:v>9.1726122505783678</c:v>
                </c:pt>
                <c:pt idx="2883">
                  <c:v>9.1717415626733327</c:v>
                </c:pt>
                <c:pt idx="2884">
                  <c:v>9.1159695266696872</c:v>
                </c:pt>
                <c:pt idx="2885">
                  <c:v>9.0692041748620795</c:v>
                </c:pt>
                <c:pt idx="2886">
                  <c:v>8.9765394366600049</c:v>
                </c:pt>
                <c:pt idx="2887">
                  <c:v>8.9713093079694772</c:v>
                </c:pt>
                <c:pt idx="2888">
                  <c:v>8.952637135515829</c:v>
                </c:pt>
                <c:pt idx="2889">
                  <c:v>8.9446697018011037</c:v>
                </c:pt>
                <c:pt idx="2890">
                  <c:v>8.9406859849439115</c:v>
                </c:pt>
                <c:pt idx="2891">
                  <c:v>8.9247511175141199</c:v>
                </c:pt>
                <c:pt idx="2892">
                  <c:v>8.9247511175141199</c:v>
                </c:pt>
                <c:pt idx="2893">
                  <c:v>8.8888976657973444</c:v>
                </c:pt>
                <c:pt idx="2894">
                  <c:v>8.8649953646527138</c:v>
                </c:pt>
                <c:pt idx="2895">
                  <c:v>8.8566959545330519</c:v>
                </c:pt>
                <c:pt idx="2896">
                  <c:v>8.8459474682709924</c:v>
                </c:pt>
                <c:pt idx="2897">
                  <c:v>8.8331256297939262</c:v>
                </c:pt>
                <c:pt idx="2898">
                  <c:v>8.8081073068733531</c:v>
                </c:pt>
                <c:pt idx="2899">
                  <c:v>8.8052396117919898</c:v>
                </c:pt>
                <c:pt idx="2900">
                  <c:v>8.7893047443620844</c:v>
                </c:pt>
                <c:pt idx="2901">
                  <c:v>8.7454838589305837</c:v>
                </c:pt>
                <c:pt idx="2902">
                  <c:v>8.7295489915009057</c:v>
                </c:pt>
                <c:pt idx="2903">
                  <c:v>8.7255652746437136</c:v>
                </c:pt>
                <c:pt idx="2904">
                  <c:v>8.6737769554973738</c:v>
                </c:pt>
                <c:pt idx="2905">
                  <c:v>8.6379235037805984</c:v>
                </c:pt>
                <c:pt idx="2906">
                  <c:v>8.5980863352067445</c:v>
                </c:pt>
                <c:pt idx="2907">
                  <c:v>8.5104878856104733</c:v>
                </c:pt>
                <c:pt idx="2908">
                  <c:v>8.4945096969138376</c:v>
                </c:pt>
                <c:pt idx="2909">
                  <c:v>8.4905259800565318</c:v>
                </c:pt>
                <c:pt idx="2910">
                  <c:v>8.4296542054192969</c:v>
                </c:pt>
                <c:pt idx="2911">
                  <c:v>8.4188190766232083</c:v>
                </c:pt>
                <c:pt idx="2912">
                  <c:v>8.4028842091934166</c:v>
                </c:pt>
                <c:pt idx="2913">
                  <c:v>8.3994392038362093</c:v>
                </c:pt>
                <c:pt idx="2914">
                  <c:v>8.3749981911917075</c:v>
                </c:pt>
                <c:pt idx="2915">
                  <c:v>8.3478194472663745</c:v>
                </c:pt>
                <c:pt idx="2916">
                  <c:v>8.3471121731897711</c:v>
                </c:pt>
                <c:pt idx="2917">
                  <c:v>8.211665800037963</c:v>
                </c:pt>
                <c:pt idx="2918">
                  <c:v>8.0762194268860412</c:v>
                </c:pt>
                <c:pt idx="2919">
                  <c:v>8.0762194268860412</c:v>
                </c:pt>
                <c:pt idx="2920">
                  <c:v>8.0602845594562496</c:v>
                </c:pt>
                <c:pt idx="2921">
                  <c:v>8.0452203799316067</c:v>
                </c:pt>
                <c:pt idx="2922">
                  <c:v>8.0121479807626201</c:v>
                </c:pt>
                <c:pt idx="2923">
                  <c:v>8.0005288065954119</c:v>
                </c:pt>
                <c:pt idx="2924">
                  <c:v>7.9726427885934754</c:v>
                </c:pt>
                <c:pt idx="2925">
                  <c:v>7.9726427885934754</c:v>
                </c:pt>
                <c:pt idx="2926">
                  <c:v>7.9499864730255467</c:v>
                </c:pt>
                <c:pt idx="2927">
                  <c:v>7.9370393932389334</c:v>
                </c:pt>
                <c:pt idx="2928">
                  <c:v>7.8093103974398446</c:v>
                </c:pt>
                <c:pt idx="2929">
                  <c:v>7.7933755300100529</c:v>
                </c:pt>
                <c:pt idx="2930">
                  <c:v>7.781424379437567</c:v>
                </c:pt>
                <c:pt idx="2931">
                  <c:v>7.7615057951505833</c:v>
                </c:pt>
                <c:pt idx="2932">
                  <c:v>7.69403266493714</c:v>
                </c:pt>
                <c:pt idx="2933">
                  <c:v>7.5311141702309214</c:v>
                </c:pt>
                <c:pt idx="2934">
                  <c:v>7.5145153499915978</c:v>
                </c:pt>
                <c:pt idx="2935">
                  <c:v>7.4388247297009684</c:v>
                </c:pt>
                <c:pt idx="2936">
                  <c:v>7.4069549948413851</c:v>
                </c:pt>
                <c:pt idx="2937">
                  <c:v>7.4047126537938084</c:v>
                </c:pt>
                <c:pt idx="2938">
                  <c:v>7.1289655027277377</c:v>
                </c:pt>
                <c:pt idx="2939">
                  <c:v>7.096225079963574</c:v>
                </c:pt>
                <c:pt idx="2940">
                  <c:v>6.8930555202359756</c:v>
                </c:pt>
                <c:pt idx="2941">
                  <c:v>6.8850880865206818</c:v>
                </c:pt>
                <c:pt idx="2942">
                  <c:v>6.8838035021688029</c:v>
                </c:pt>
                <c:pt idx="2943">
                  <c:v>6.7556606099219607</c:v>
                </c:pt>
                <c:pt idx="2944">
                  <c:v>6.5516636835559439</c:v>
                </c:pt>
                <c:pt idx="2945">
                  <c:v>6.5106187019244999</c:v>
                </c:pt>
                <c:pt idx="2946">
                  <c:v>6.4588303827780464</c:v>
                </c:pt>
                <c:pt idx="2947">
                  <c:v>6.3760430166776132</c:v>
                </c:pt>
                <c:pt idx="2948">
                  <c:v>6.3034654253392546</c:v>
                </c:pt>
                <c:pt idx="2949">
                  <c:v>6.279563124194965</c:v>
                </c:pt>
                <c:pt idx="2950">
                  <c:v>6.1241981667560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3E4-4444-961C-9A82EAEFB5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539359"/>
        <c:axId val="36528199"/>
      </c:lineChart>
      <c:catAx>
        <c:axId val="3653935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Hour (December - April)</a:t>
                </a:r>
              </a:p>
            </c:rich>
          </c:tx>
          <c:layout>
            <c:manualLayout>
              <c:xMode val="edge"/>
              <c:yMode val="edge"/>
              <c:x val="0.39356475911299799"/>
              <c:y val="0.853225637573853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528199"/>
        <c:crosses val="autoZero"/>
        <c:auto val="1"/>
        <c:lblAlgn val="ctr"/>
        <c:lblOffset val="100"/>
        <c:noMultiLvlLbl val="0"/>
      </c:catAx>
      <c:valAx>
        <c:axId val="36528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 Difference</a:t>
                </a:r>
                <a:r>
                  <a:rPr lang="en-US" baseline="0"/>
                  <a:t> from AAR (MW)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5393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837553980340523"/>
          <c:y val="0.20828573565392053"/>
          <c:w val="0.47975298418083623"/>
          <c:h val="9.15636184920456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8FF8E-8CC4-1D49-B6D9-DE20EAC6B561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BBA8DE-812D-7941-AD76-10F215B67D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1139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2E616F-FFB1-4D44-9539-9648106F1835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89B780-DA5E-9945-84BC-54241C91F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4684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180019-4996-9105-33C1-FBC68B82D3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52D9C5-F25F-EB70-B812-61BD470352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AA38D4-0223-B039-FD00-593FE16324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rid congestion isn’t the only value of GETs – we need to access the latent capacity on the grid so that we plan correctly, so that we interconnect the cheapest, cleanest resources, and enable new industr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78ECA-306B-2BC5-3CE4-80B1D31D18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89B780-DA5E-9945-84BC-54241C91FFF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296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55658-2C51-CF9A-21D5-14F0551EA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9215B-6847-BD83-8BC9-6EA3A57304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0CEA82-2DD4-7829-68BD-88A3315077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AR incorporates hourly temperature, whether sun is up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7579C1-0AC0-6D7B-66DB-E4FBA2CE4B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89B780-DA5E-9945-84BC-54241C91FFF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595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7C3A2-4B71-74A6-CC87-9AB75D1FD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6C24CF-8A44-11CA-B297-BB5BB9B8CD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CB057A-81C5-C129-EF8B-A42569A1E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3DE7BE-E01B-541C-B0AB-20643574B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89B780-DA5E-9945-84BC-54241C91FFF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882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-1.png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6101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0061" y="1975752"/>
            <a:ext cx="5674757" cy="1316831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0062" y="3292583"/>
            <a:ext cx="5674756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WATT-web-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9746"/>
            <a:ext cx="2280062" cy="228006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4594623"/>
            <a:ext cx="9144000" cy="5488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08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873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00450"/>
            <a:ext cx="6821488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354568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025503"/>
            <a:ext cx="6821488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86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988820"/>
            <a:ext cx="6583680" cy="96012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lnSpc>
                <a:spcPct val="90000"/>
              </a:lnSpc>
              <a:defRPr lang="en-US" sz="2621" dirty="0">
                <a:solidFill>
                  <a:srgbClr val="09529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017520"/>
            <a:ext cx="6583680" cy="548640"/>
          </a:xfrm>
        </p:spPr>
        <p:txBody>
          <a:bodyPr lIns="18288" anchor="ctr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47">
                <a:solidFill>
                  <a:srgbClr val="09529F"/>
                </a:solidFill>
                <a:latin typeface="+mj-lt"/>
              </a:defRPr>
            </a:lvl1pPr>
            <a:lvl2pPr marL="332832" indent="0" algn="ctr">
              <a:buNone/>
              <a:defRPr sz="1456"/>
            </a:lvl2pPr>
            <a:lvl3pPr marL="665665" indent="0" algn="ctr">
              <a:buNone/>
              <a:defRPr sz="1310"/>
            </a:lvl3pPr>
            <a:lvl4pPr marL="998497" indent="0" algn="ctr">
              <a:buNone/>
              <a:defRPr sz="1165"/>
            </a:lvl4pPr>
            <a:lvl5pPr marL="1331330" indent="0" algn="ctr">
              <a:buNone/>
              <a:defRPr sz="1165"/>
            </a:lvl5pPr>
            <a:lvl6pPr marL="1664162" indent="0" algn="ctr">
              <a:buNone/>
              <a:defRPr sz="1165"/>
            </a:lvl6pPr>
            <a:lvl7pPr marL="1996995" indent="0" algn="ctr">
              <a:buNone/>
              <a:defRPr sz="1165"/>
            </a:lvl7pPr>
            <a:lvl8pPr marL="2329827" indent="0" algn="ctr">
              <a:buNone/>
              <a:defRPr sz="1165"/>
            </a:lvl8pPr>
            <a:lvl9pPr marL="2662660" indent="0" algn="ctr">
              <a:buNone/>
              <a:defRPr sz="116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3634740"/>
            <a:ext cx="2743200" cy="205740"/>
          </a:xfrm>
        </p:spPr>
        <p:txBody>
          <a:bodyPr lIns="27432" anchor="ctr">
            <a:noAutofit/>
          </a:bodyPr>
          <a:lstStyle>
            <a:lvl1pPr marL="0" indent="0">
              <a:spcBef>
                <a:spcPts val="0"/>
              </a:spcBef>
              <a:buNone/>
              <a:defRPr sz="1310" baseline="0">
                <a:solidFill>
                  <a:srgbClr val="09529F"/>
                </a:solidFill>
                <a:latin typeface="+mj-lt"/>
              </a:defRPr>
            </a:lvl1pPr>
          </a:lstStyle>
          <a:p>
            <a:pPr lvl="0"/>
            <a:r>
              <a:rPr lang="en-US" sz="1165">
                <a:latin typeface="+mj-lt"/>
              </a:rPr>
              <a:t>MMMM DD, YYY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625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60646" y="205740"/>
            <a:ext cx="7772400" cy="53553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aseline="0">
                <a:solidFill>
                  <a:srgbClr val="09529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69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710EEE3-6806-89BF-E580-B139045F6CAE}"/>
              </a:ext>
            </a:extLst>
          </p:cNvPr>
          <p:cNvSpPr/>
          <p:nvPr userDrawn="1"/>
        </p:nvSpPr>
        <p:spPr>
          <a:xfrm>
            <a:off x="6553201" y="0"/>
            <a:ext cx="2590799" cy="51435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5724395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23D27A8-51C0-5D05-5AD3-2280CBC3EF42}"/>
              </a:ext>
            </a:extLst>
          </p:cNvPr>
          <p:cNvGrpSpPr/>
          <p:nvPr userDrawn="1"/>
        </p:nvGrpSpPr>
        <p:grpSpPr>
          <a:xfrm>
            <a:off x="457200" y="1078613"/>
            <a:ext cx="5724395" cy="3394277"/>
            <a:chOff x="609600" y="1438151"/>
            <a:chExt cx="5386917" cy="4525702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0DE00E7-096C-334E-9EBC-26701B1B1FFD}"/>
                </a:ext>
              </a:extLst>
            </p:cNvPr>
            <p:cNvCxnSpPr/>
            <p:nvPr userDrawn="1"/>
          </p:nvCxnSpPr>
          <p:spPr>
            <a:xfrm>
              <a:off x="609600" y="1438151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FEC9342-7DDD-93FB-24E3-E039887EB3F3}"/>
                </a:ext>
              </a:extLst>
            </p:cNvPr>
            <p:cNvCxnSpPr/>
            <p:nvPr userDrawn="1"/>
          </p:nvCxnSpPr>
          <p:spPr>
            <a:xfrm>
              <a:off x="609600" y="5963853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5C3595B-C03C-78B9-4810-F1F630058F9A}"/>
              </a:ext>
            </a:extLst>
          </p:cNvPr>
          <p:cNvGrpSpPr/>
          <p:nvPr userDrawn="1"/>
        </p:nvGrpSpPr>
        <p:grpSpPr>
          <a:xfrm>
            <a:off x="6923761" y="1078613"/>
            <a:ext cx="1763039" cy="3394277"/>
            <a:chOff x="6195483" y="1438151"/>
            <a:chExt cx="5386917" cy="4525702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9031B79-3916-6812-7E2A-30CF3160F153}"/>
                </a:ext>
              </a:extLst>
            </p:cNvPr>
            <p:cNvCxnSpPr/>
            <p:nvPr userDrawn="1"/>
          </p:nvCxnSpPr>
          <p:spPr>
            <a:xfrm>
              <a:off x="6195483" y="1438151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FF5871A-9C2F-383B-2820-6622DF58E1FD}"/>
                </a:ext>
              </a:extLst>
            </p:cNvPr>
            <p:cNvCxnSpPr/>
            <p:nvPr userDrawn="1"/>
          </p:nvCxnSpPr>
          <p:spPr>
            <a:xfrm>
              <a:off x="6195483" y="5963853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52C4BEF-8E4A-DC0F-EC62-20788042A8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38469" y="4793307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24 WATT Coalition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6628AE1-F1B1-3CF7-99B5-1807653CE1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7200" y="479330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7640A5-FB12-334C-A067-4A5A64E1E9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WATT-web-white-01.png">
            <a:extLst>
              <a:ext uri="{FF2B5EF4-FFF2-40B4-BE49-F238E27FC236}">
                <a16:creationId xmlns:a16="http://schemas.microsoft.com/office/drawing/2014/main" id="{C3E20AFC-E90A-75C7-6A1E-D147E6C46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107"/>
          <a:stretch/>
        </p:blipFill>
        <p:spPr>
          <a:xfrm>
            <a:off x="8328675" y="4778128"/>
            <a:ext cx="406298" cy="288036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F519DB2-A7AA-2B6A-7A4B-721240DC2C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1281344"/>
            <a:ext cx="5724395" cy="321759"/>
          </a:xfrm>
        </p:spPr>
        <p:txBody>
          <a:bodyPr anchor="b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3CE810-4FA6-1CAB-ACEA-6F2745CEF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1654478"/>
            <a:ext cx="5724395" cy="27300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8F12534-1968-E339-F109-108F74D25E3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923762" y="1281344"/>
            <a:ext cx="1763040" cy="321759"/>
          </a:xfrm>
        </p:spPr>
        <p:txBody>
          <a:bodyPr anchor="b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91F04F6B-B44D-7199-8B4D-FFE2C4EADFB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923762" y="1654478"/>
            <a:ext cx="1763040" cy="27300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5CEEF0-BDA3-C8FC-246B-EDB8E4761E87}"/>
              </a:ext>
            </a:extLst>
          </p:cNvPr>
          <p:cNvCxnSpPr>
            <a:cxnSpLocks/>
          </p:cNvCxnSpPr>
          <p:nvPr userDrawn="1"/>
        </p:nvCxnSpPr>
        <p:spPr>
          <a:xfrm>
            <a:off x="457200" y="1618343"/>
            <a:ext cx="5724395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FEAB3D3-9B27-0066-0135-0631F151A4C8}"/>
              </a:ext>
            </a:extLst>
          </p:cNvPr>
          <p:cNvCxnSpPr>
            <a:cxnSpLocks/>
          </p:cNvCxnSpPr>
          <p:nvPr userDrawn="1"/>
        </p:nvCxnSpPr>
        <p:spPr>
          <a:xfrm>
            <a:off x="6921321" y="1618343"/>
            <a:ext cx="1765481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831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297180" y="741270"/>
            <a:ext cx="8549640" cy="0"/>
          </a:xfrm>
          <a:prstGeom prst="line">
            <a:avLst/>
          </a:prstGeom>
          <a:ln w="38100">
            <a:solidFill>
              <a:srgbClr val="0952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7180" y="205740"/>
            <a:ext cx="8135866" cy="53553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aseline="0">
                <a:solidFill>
                  <a:srgbClr val="09529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60646" y="1276800"/>
            <a:ext cx="7772400" cy="3249480"/>
          </a:xfrm>
        </p:spPr>
        <p:txBody>
          <a:bodyPr lIns="18288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660646" y="796740"/>
            <a:ext cx="7772400" cy="480060"/>
          </a:xfrm>
        </p:spPr>
        <p:txBody>
          <a:bodyPr lIns="9144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47">
                <a:solidFill>
                  <a:srgbClr val="818285"/>
                </a:solidFill>
                <a:latin typeface="+mj-lt"/>
              </a:defRPr>
            </a:lvl1pPr>
            <a:lvl2pPr marL="332832" indent="0" algn="ctr">
              <a:buNone/>
              <a:defRPr sz="1456"/>
            </a:lvl2pPr>
            <a:lvl3pPr marL="665665" indent="0" algn="ctr">
              <a:buNone/>
              <a:defRPr sz="1310"/>
            </a:lvl3pPr>
            <a:lvl4pPr marL="998497" indent="0" algn="ctr">
              <a:buNone/>
              <a:defRPr sz="1165"/>
            </a:lvl4pPr>
            <a:lvl5pPr marL="1331330" indent="0" algn="ctr">
              <a:buNone/>
              <a:defRPr sz="1165"/>
            </a:lvl5pPr>
            <a:lvl6pPr marL="1664162" indent="0" algn="ctr">
              <a:buNone/>
              <a:defRPr sz="1165"/>
            </a:lvl6pPr>
            <a:lvl7pPr marL="1996995" indent="0" algn="ctr">
              <a:buNone/>
              <a:defRPr sz="1165"/>
            </a:lvl7pPr>
            <a:lvl8pPr marL="2329827" indent="0" algn="ctr">
              <a:buNone/>
              <a:defRPr sz="1165"/>
            </a:lvl8pPr>
            <a:lvl9pPr marL="2662660" indent="0" algn="ctr">
              <a:buNone/>
              <a:defRPr sz="1165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Verdan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7640A5-FB12-334C-A067-4A5A64E1E9F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666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Heading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marR="0" indent="0" algn="l" defTabSz="4571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1B4489"/>
                </a:solidFill>
                <a:effectLst/>
                <a:uLnTx/>
                <a:uFillTx/>
                <a:latin typeface="Roboto Black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703E86-C012-A5F6-C625-40D658615FB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1860729"/>
            <a:ext cx="2551748" cy="321759"/>
          </a:xfrm>
        </p:spPr>
        <p:txBody>
          <a:bodyPr anchor="b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ing 1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4A3D5A-D218-09A1-3B8E-4464136ECA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233864"/>
            <a:ext cx="2551748" cy="2195571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200" kern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189" indent="0">
              <a:buNone/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14EFC29-5D70-217A-59A9-1F5340569B2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35052" y="1860729"/>
            <a:ext cx="2551748" cy="321759"/>
          </a:xfrm>
        </p:spPr>
        <p:txBody>
          <a:bodyPr anchor="b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ing 1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29AB5FA4-C098-ECE0-5CD4-1E7D845E750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135052" y="2233864"/>
            <a:ext cx="2551748" cy="2195571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200" kern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189" indent="0">
              <a:buNone/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CE582E8-DF97-34B8-9E74-7E31E581637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296126" y="1860729"/>
            <a:ext cx="2551748" cy="321759"/>
          </a:xfrm>
        </p:spPr>
        <p:txBody>
          <a:bodyPr anchor="b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ing 1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FA1909BD-AE5C-4E38-03C9-DD0E16F92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296126" y="2233864"/>
            <a:ext cx="2551748" cy="2195571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200" kern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189" indent="0">
              <a:buNone/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B33EB92-C7CC-FAC6-0D93-1D0EFFF62B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69447" y="4779873"/>
            <a:ext cx="637981" cy="27384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509D77-99DF-A944-143F-B45D77D39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4573" y="4779873"/>
            <a:ext cx="431856" cy="273844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B3FECDB2-12C2-4AFA-BC91-6BA9964695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3E1E8F9-956F-8445-C86A-03A5A0049753}"/>
              </a:ext>
            </a:extLst>
          </p:cNvPr>
          <p:cNvSpPr/>
          <p:nvPr userDrawn="1"/>
        </p:nvSpPr>
        <p:spPr>
          <a:xfrm>
            <a:off x="7962378" y="4850509"/>
            <a:ext cx="77244" cy="7724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2F58596-EECD-961F-1F76-4182DF643492}"/>
              </a:ext>
            </a:extLst>
          </p:cNvPr>
          <p:cNvCxnSpPr>
            <a:cxnSpLocks/>
          </p:cNvCxnSpPr>
          <p:nvPr userDrawn="1"/>
        </p:nvCxnSpPr>
        <p:spPr>
          <a:xfrm>
            <a:off x="444157" y="1145444"/>
            <a:ext cx="1966401" cy="0"/>
          </a:xfrm>
          <a:prstGeom prst="line">
            <a:avLst/>
          </a:prstGeom>
          <a:ln w="12700">
            <a:solidFill>
              <a:srgbClr val="F5B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862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6101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0061" y="1975752"/>
            <a:ext cx="5674757" cy="1316831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0062" y="3292583"/>
            <a:ext cx="5674756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594623"/>
            <a:ext cx="9144000" cy="5488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08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 descr="WATT-web-white-01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107"/>
          <a:stretch/>
        </p:blipFill>
        <p:spPr>
          <a:xfrm>
            <a:off x="8234069" y="4657949"/>
            <a:ext cx="596900" cy="42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32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80" y="205740"/>
            <a:ext cx="8135866" cy="53553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aseline="0">
                <a:solidFill>
                  <a:srgbClr val="09529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646" y="864454"/>
            <a:ext cx="7772400" cy="3661826"/>
          </a:xfrm>
        </p:spPr>
        <p:txBody>
          <a:bodyPr lIns="18288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97180" y="741270"/>
            <a:ext cx="8549640" cy="0"/>
          </a:xfrm>
          <a:prstGeom prst="line">
            <a:avLst/>
          </a:prstGeom>
          <a:ln w="38100">
            <a:solidFill>
              <a:srgbClr val="0952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017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768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3229"/>
            <a:ext cx="4038600" cy="353186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3229"/>
            <a:ext cx="4038600" cy="353186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</p:spTree>
    <p:extLst>
      <p:ext uri="{BB962C8B-B14F-4D97-AF65-F5344CB8AC3E}">
        <p14:creationId xmlns:p14="http://schemas.microsoft.com/office/powerpoint/2010/main" val="1757379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59858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72907"/>
            <a:ext cx="4040188" cy="24818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59858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72907"/>
            <a:ext cx="4041775" cy="24818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9722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93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715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34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594623"/>
            <a:ext cx="9144000" cy="5488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08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259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8469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  <a:latin typeface="+mn-lt"/>
                <a:cs typeface="Verdana"/>
              </a:defRPr>
            </a:lvl1pPr>
          </a:lstStyle>
          <a:p>
            <a:r>
              <a:rPr lang="en-US"/>
              <a:t>© 2023 WATT Coali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  <a:latin typeface="+mn-lt"/>
                <a:cs typeface="Verdana"/>
              </a:defRPr>
            </a:lvl1pPr>
          </a:lstStyle>
          <a:p>
            <a:fld id="{CD7640A5-FB12-334C-A067-4A5A64E1E9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WATT-web-white-01.pn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107"/>
          <a:stretch/>
        </p:blipFill>
        <p:spPr>
          <a:xfrm>
            <a:off x="8234069" y="4657949"/>
            <a:ext cx="596900" cy="42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0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3" r:id="rId3"/>
    <p:sldLayoutId id="2147483650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61" r:id="rId11"/>
    <p:sldLayoutId id="2147483664" r:id="rId12"/>
    <p:sldLayoutId id="2147483665" r:id="rId13"/>
    <p:sldLayoutId id="2147483666" r:id="rId14"/>
    <p:sldLayoutId id="2147483667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200" b="1" i="0" kern="1200">
          <a:solidFill>
            <a:srgbClr val="0D72B9"/>
          </a:solidFill>
          <a:latin typeface="+mj-lt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2"/>
          </a:solidFill>
          <a:latin typeface="+mn-lt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Verdan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att-transmission.org/wp-content/uploads/2022/06/Topology-Optimization_Ruiz_FERC_20220623_FINAL.pdf" TargetMode="Externa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ema.org/docs/default-source/advocacy-document-library/nema_chutesandladder_2024_revised-4web.pdf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ei.org/en/news/news/all/ppl-electric-utilities-wins-95th-annual-edison-award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att-transmission.org/minnesota-passes-landmark-legislation-on-grid-enhancing-technologies/" TargetMode="External"/><Relationship Id="rId2" Type="http://schemas.openxmlformats.org/officeDocument/2006/relationships/hyperlink" Target="https://lis.virginia.gov/cgi-bin/legp604.exe?241+sum+HB862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legiscan.com/CA/text/SB1006/id/2912516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ongress.gov/bill/118th-congress/senate-bill/3918/cosponsors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aes.com/sites/aes.com/files/2024-04/AES-LineVision-Case-Study-2024.pdf" TargetMode="External"/><Relationship Id="rId5" Type="http://schemas.openxmlformats.org/officeDocument/2006/relationships/hyperlink" Target="https://watt-transmission.org/grid-enhancing-technologies-could-unlock-more-reliable-affordable-clean-energy-in-pjm/" TargetMode="External"/><Relationship Id="rId4" Type="http://schemas.openxmlformats.org/officeDocument/2006/relationships/hyperlink" Target="https://www.brattle.com/wp-content/uploads/2023/04/Building-a-Better-Grid-How-Grid-Enhancing-Technologies-Complement-Transmission-Buildouts.pdf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caiso.com/InitiativeDocuments/DRAFT_2023-2024_TransmissionPlan.pdf" TargetMode="External"/><Relationship Id="rId5" Type="http://schemas.openxmlformats.org/officeDocument/2006/relationships/hyperlink" Target="https://www.smartwires.com/2023/05/31/central-hudson-leeds-hurley-avenue-project/" TargetMode="External"/><Relationship Id="rId4" Type="http://schemas.openxmlformats.org/officeDocument/2006/relationships/hyperlink" Target="https://www.energy.gov/sites/default/files/2023-10/DOE-GRIP-Electric-Power-Research-Institute.pdf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rcot.com/mktrules/issues/NOGRR258#keydocs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dn.misoenergy.org/20240829%20RSC%20Item%2005%20Reconfiguration%20for%20Congestion%20Cost%20Update644561.pdf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att-transmission.org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www.researchgate.net/publication/375610241_Time_Series_Power_Flow_and_Contingency_Analysis_with_Weather_Adjusted_Line_Ratings_A_Synthetic_WECC_Case_Study" TargetMode="Externa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https://watt-transmission.org/unlocking-the-queue/" TargetMode="Externa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22098-9E4F-4782-AF31-35D8BB7418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29902" y="1715689"/>
            <a:ext cx="6521039" cy="1316831"/>
          </a:xfrm>
        </p:spPr>
        <p:txBody>
          <a:bodyPr/>
          <a:lstStyle/>
          <a:p>
            <a:br>
              <a:rPr lang="en-US" dirty="0">
                <a:latin typeface="+mn-lt"/>
              </a:rPr>
            </a:b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Grid Enhancing Technologies</a:t>
            </a:r>
            <a:br>
              <a:rPr lang="en-US" dirty="0">
                <a:latin typeface="+mn-lt"/>
              </a:rPr>
            </a:br>
            <a:br>
              <a:rPr lang="en-US" dirty="0">
                <a:latin typeface="+mn-lt"/>
              </a:rPr>
            </a:br>
            <a:r>
              <a:rPr lang="en-US" sz="1800" dirty="0">
                <a:latin typeface="+mn-lt"/>
              </a:rPr>
              <a:t>Julia </a:t>
            </a:r>
            <a:r>
              <a:rPr lang="en-US" sz="1800" dirty="0" err="1">
                <a:latin typeface="+mn-lt"/>
              </a:rPr>
              <a:t>Selker</a:t>
            </a:r>
            <a:r>
              <a:rPr lang="en-US" sz="1800" dirty="0">
                <a:latin typeface="+mn-lt"/>
              </a:rPr>
              <a:t>, Executive Director, WATT Coalition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October 2024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7892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A55FA-2299-A7FB-379A-FA87CA7F7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26813-FB4B-8DEB-2B28-F2F8B450C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880" y="2155364"/>
            <a:ext cx="3222702" cy="1388645"/>
          </a:xfrm>
        </p:spPr>
        <p:txBody>
          <a:bodyPr/>
          <a:lstStyle/>
          <a:p>
            <a:r>
              <a:rPr lang="en-US" sz="2400" dirty="0"/>
              <a:t>Today’s grid is </a:t>
            </a:r>
            <a:r>
              <a:rPr lang="en-US" sz="2400" i="1" dirty="0"/>
              <a:t>inefficient</a:t>
            </a: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because it is </a:t>
            </a:r>
            <a:r>
              <a:rPr lang="en-US" sz="2400" i="1" dirty="0"/>
              <a:t>underutilized</a:t>
            </a:r>
            <a:r>
              <a:rPr lang="en-US" sz="2400" dirty="0"/>
              <a:t>.</a:t>
            </a:r>
            <a:br>
              <a:rPr lang="en-US" sz="2400" dirty="0"/>
            </a:br>
            <a:br>
              <a:rPr lang="en-US" sz="2400" dirty="0"/>
            </a:br>
            <a:r>
              <a:rPr lang="en-US" sz="1800" dirty="0"/>
              <a:t>An interconnection study showed a 3% line overload in high wind scenarios, requiring a $50 million rebuild – DLR was not considered.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A8A49B-81F4-EFF6-5F55-B5BDEB44D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AED62-1C66-0E73-C317-F79029565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0</a:t>
            </a:fld>
            <a:endParaRPr lang="en-US"/>
          </a:p>
        </p:txBody>
      </p:sp>
      <p:pic>
        <p:nvPicPr>
          <p:cNvPr id="1026" name="Picture 2" descr="Use the &quot;zipper merge&quot; for highway lane closures">
            <a:extLst>
              <a:ext uri="{FF2B5EF4-FFF2-40B4-BE49-F238E27FC236}">
                <a16:creationId xmlns:a16="http://schemas.microsoft.com/office/drawing/2014/main" id="{BB5ECBEE-E0EA-2047-8C25-8AFF221776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775" y="0"/>
            <a:ext cx="525822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C0F8C8-5372-0C56-7497-484E48F08387}"/>
              </a:ext>
            </a:extLst>
          </p:cNvPr>
          <p:cNvSpPr/>
          <p:nvPr/>
        </p:nvSpPr>
        <p:spPr>
          <a:xfrm>
            <a:off x="5257800" y="3118757"/>
            <a:ext cx="1176831" cy="4422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green and black logo&#10;&#10;Description automatically generated">
            <a:extLst>
              <a:ext uri="{FF2B5EF4-FFF2-40B4-BE49-F238E27FC236}">
                <a16:creationId xmlns:a16="http://schemas.microsoft.com/office/drawing/2014/main" id="{B47FCE7B-6C88-E038-D507-7E80020BE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2469" y="3250142"/>
            <a:ext cx="847492" cy="179504"/>
          </a:xfrm>
          <a:prstGeom prst="rect">
            <a:avLst/>
          </a:prstGeom>
          <a:ln>
            <a:noFill/>
          </a:ln>
        </p:spPr>
      </p:pic>
      <p:pic>
        <p:nvPicPr>
          <p:cNvPr id="10" name="Picture 9" descr="A logo for a company&#10;&#10;Description automatically generated">
            <a:extLst>
              <a:ext uri="{FF2B5EF4-FFF2-40B4-BE49-F238E27FC236}">
                <a16:creationId xmlns:a16="http://schemas.microsoft.com/office/drawing/2014/main" id="{41B79961-D934-05E0-E623-BE457229EE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6054" y="2616524"/>
            <a:ext cx="841248" cy="46632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2" name="Picture 11" descr="A blue logo with a white background&#10;&#10;Description automatically generated">
            <a:extLst>
              <a:ext uri="{FF2B5EF4-FFF2-40B4-BE49-F238E27FC236}">
                <a16:creationId xmlns:a16="http://schemas.microsoft.com/office/drawing/2014/main" id="{96679AA1-C7A4-066D-AECE-360C77425A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2469" y="2655611"/>
            <a:ext cx="866907" cy="35295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62D6784-BA93-FD20-2B8B-325E79A503AF}"/>
              </a:ext>
            </a:extLst>
          </p:cNvPr>
          <p:cNvSpPr/>
          <p:nvPr/>
        </p:nvSpPr>
        <p:spPr>
          <a:xfrm>
            <a:off x="6475500" y="3012175"/>
            <a:ext cx="889108" cy="5645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blue and purple logo&#10;&#10;Description automatically generated">
            <a:extLst>
              <a:ext uri="{FF2B5EF4-FFF2-40B4-BE49-F238E27FC236}">
                <a16:creationId xmlns:a16="http://schemas.microsoft.com/office/drawing/2014/main" id="{D53C608F-59D2-B147-3673-12320C874F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7721" y="3207340"/>
            <a:ext cx="423374" cy="174188"/>
          </a:xfrm>
          <a:prstGeom prst="rect">
            <a:avLst/>
          </a:prstGeom>
          <a:effectLst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68309F6-8B96-B9AE-ADBA-FA0F35D4E9EA}"/>
              </a:ext>
            </a:extLst>
          </p:cNvPr>
          <p:cNvSpPr/>
          <p:nvPr/>
        </p:nvSpPr>
        <p:spPr>
          <a:xfrm>
            <a:off x="5897161" y="2185884"/>
            <a:ext cx="889108" cy="4540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blue and white sign with white letters&#10;&#10;Description automatically generated">
            <a:extLst>
              <a:ext uri="{FF2B5EF4-FFF2-40B4-BE49-F238E27FC236}">
                <a16:creationId xmlns:a16="http://schemas.microsoft.com/office/drawing/2014/main" id="{111F22AB-ACC8-A71B-3323-D2098ACB07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8067" y="2311077"/>
            <a:ext cx="488671" cy="215900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24B13C-28E2-5E0C-6227-B46F1AB78E5D}"/>
              </a:ext>
            </a:extLst>
          </p:cNvPr>
          <p:cNvSpPr/>
          <p:nvPr/>
        </p:nvSpPr>
        <p:spPr>
          <a:xfrm>
            <a:off x="6401043" y="3498225"/>
            <a:ext cx="1544938" cy="626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logo with blue letters and a yellow and orange logo&#10;&#10;Description automatically generated">
            <a:extLst>
              <a:ext uri="{FF2B5EF4-FFF2-40B4-BE49-F238E27FC236}">
                <a16:creationId xmlns:a16="http://schemas.microsoft.com/office/drawing/2014/main" id="{53DA011A-B6FF-36D0-7995-53BAA34AB4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4855" y="3681831"/>
            <a:ext cx="1017314" cy="258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47B8101-13A1-022B-6DCF-51628D22A6DC}"/>
              </a:ext>
            </a:extLst>
          </p:cNvPr>
          <p:cNvSpPr/>
          <p:nvPr/>
        </p:nvSpPr>
        <p:spPr>
          <a:xfrm>
            <a:off x="4428538" y="4199721"/>
            <a:ext cx="1544938" cy="626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Large load!?</a:t>
            </a:r>
          </a:p>
        </p:txBody>
      </p:sp>
    </p:spTree>
    <p:extLst>
      <p:ext uri="{BB962C8B-B14F-4D97-AF65-F5344CB8AC3E}">
        <p14:creationId xmlns:p14="http://schemas.microsoft.com/office/powerpoint/2010/main" val="3290721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8B055-0A69-DA9E-0613-B8EBA2F2B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66F11-4B60-773E-E057-8218E6831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5" descr="A map of different types of electrical components&#10;&#10;Description automatically generated">
            <a:extLst>
              <a:ext uri="{FF2B5EF4-FFF2-40B4-BE49-F238E27FC236}">
                <a16:creationId xmlns:a16="http://schemas.microsoft.com/office/drawing/2014/main" id="{B587320A-7A1E-FDBF-F36D-CCBEC55F80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942"/>
          <a:stretch/>
        </p:blipFill>
        <p:spPr>
          <a:xfrm>
            <a:off x="0" y="-874722"/>
            <a:ext cx="4521765" cy="6018222"/>
          </a:xfrm>
          <a:prstGeom prst="rect">
            <a:avLst/>
          </a:prstGeom>
        </p:spPr>
      </p:pic>
      <p:pic>
        <p:nvPicPr>
          <p:cNvPr id="8" name="Picture 7" descr="A chart of energy levels&#10;&#10;Description automatically generated with medium confidence">
            <a:extLst>
              <a:ext uri="{FF2B5EF4-FFF2-40B4-BE49-F238E27FC236}">
                <a16:creationId xmlns:a16="http://schemas.microsoft.com/office/drawing/2014/main" id="{8B0D7F0C-8316-224C-AA72-FE710A3095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123657"/>
            <a:ext cx="1139262" cy="20126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251EF4-0E79-D1CA-BD3D-7FBA664AEA73}"/>
              </a:ext>
            </a:extLst>
          </p:cNvPr>
          <p:cNvSpPr txBox="1"/>
          <p:nvPr/>
        </p:nvSpPr>
        <p:spPr>
          <a:xfrm>
            <a:off x="4997461" y="471951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Grid</a:t>
            </a:r>
            <a:r>
              <a:rPr lang="en-US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presentation to FERC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9925225-33CE-5E42-6247-D3056ADA1CDC}"/>
              </a:ext>
            </a:extLst>
          </p:cNvPr>
          <p:cNvSpPr txBox="1">
            <a:spLocks/>
          </p:cNvSpPr>
          <p:nvPr/>
        </p:nvSpPr>
        <p:spPr>
          <a:xfrm>
            <a:off x="5114407" y="1502819"/>
            <a:ext cx="3832370" cy="138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rgbClr val="0D72B9"/>
                </a:solidFill>
                <a:latin typeface="+mj-lt"/>
                <a:ea typeface="+mj-ea"/>
                <a:cs typeface="Verdana"/>
              </a:defRPr>
            </a:lvl1pPr>
          </a:lstStyle>
          <a:p>
            <a:r>
              <a:rPr lang="en-US" dirty="0"/>
              <a:t>Reduce grid congestion by 40%</a:t>
            </a:r>
          </a:p>
          <a:p>
            <a:r>
              <a:rPr lang="en-US" sz="2000" dirty="0"/>
              <a:t>Saving billions!</a:t>
            </a:r>
          </a:p>
          <a:p>
            <a:endParaRPr lang="en-US" dirty="0"/>
          </a:p>
          <a:p>
            <a:r>
              <a:rPr lang="en-US" dirty="0"/>
              <a:t>2x clean energy interconnection</a:t>
            </a:r>
          </a:p>
        </p:txBody>
      </p:sp>
    </p:spTree>
    <p:extLst>
      <p:ext uri="{BB962C8B-B14F-4D97-AF65-F5344CB8AC3E}">
        <p14:creationId xmlns:p14="http://schemas.microsoft.com/office/powerpoint/2010/main" val="1931372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9ACCE-DD74-5CEE-A488-E0837788F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DBE64B-9731-4A5F-DD39-024B0A6D9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F6B374-F13F-5927-3E60-068E97F29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5" descr="A diagram of a flowchart&#10;&#10;Description automatically generated">
            <a:extLst>
              <a:ext uri="{FF2B5EF4-FFF2-40B4-BE49-F238E27FC236}">
                <a16:creationId xmlns:a16="http://schemas.microsoft.com/office/drawing/2014/main" id="{8DAF45AA-059E-AEAA-69B6-B172FE5AC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9504" y="0"/>
            <a:ext cx="4514496" cy="51435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26A5081-D038-10EF-F12A-DFB3F21BEE31}"/>
              </a:ext>
            </a:extLst>
          </p:cNvPr>
          <p:cNvSpPr txBox="1">
            <a:spLocks/>
          </p:cNvSpPr>
          <p:nvPr/>
        </p:nvSpPr>
        <p:spPr>
          <a:xfrm>
            <a:off x="457200" y="1449889"/>
            <a:ext cx="3222702" cy="138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rgbClr val="0D72B9"/>
                </a:solidFill>
                <a:latin typeface="+mj-lt"/>
                <a:ea typeface="+mj-ea"/>
                <a:cs typeface="Verdana"/>
              </a:defRPr>
            </a:lvl1pPr>
          </a:lstStyle>
          <a:p>
            <a:r>
              <a:rPr lang="en-US" dirty="0"/>
              <a:t>Benefits:</a:t>
            </a:r>
          </a:p>
          <a:p>
            <a:endParaRPr lang="en-US" dirty="0"/>
          </a:p>
          <a:p>
            <a:r>
              <a:rPr lang="en-US" dirty="0"/>
              <a:t>GETs deploy in </a:t>
            </a:r>
            <a:r>
              <a:rPr lang="en-US" i="1" dirty="0"/>
              <a:t>months</a:t>
            </a:r>
          </a:p>
          <a:p>
            <a:endParaRPr lang="en-US" i="1" dirty="0"/>
          </a:p>
          <a:p>
            <a:r>
              <a:rPr lang="en-US" dirty="0"/>
              <a:t>For cheap! </a:t>
            </a:r>
          </a:p>
          <a:p>
            <a:r>
              <a:rPr lang="en-US" sz="2000" dirty="0"/>
              <a:t>1/20-1/200</a:t>
            </a:r>
            <a:r>
              <a:rPr lang="en-US" sz="2000" baseline="30000" dirty="0"/>
              <a:t>th</a:t>
            </a:r>
            <a:r>
              <a:rPr lang="en-US" sz="2000" dirty="0"/>
              <a:t> the co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71FF52-686C-EE53-05EF-FCE42FE93468}"/>
              </a:ext>
            </a:extLst>
          </p:cNvPr>
          <p:cNvSpPr txBox="1"/>
          <p:nvPr/>
        </p:nvSpPr>
        <p:spPr>
          <a:xfrm>
            <a:off x="722217" y="4719519"/>
            <a:ext cx="4006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MA 2024, continues for 2 more pag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&quot;No&quot; Symbol 8">
            <a:extLst>
              <a:ext uri="{FF2B5EF4-FFF2-40B4-BE49-F238E27FC236}">
                <a16:creationId xmlns:a16="http://schemas.microsoft.com/office/drawing/2014/main" id="{DBDBC5B2-F449-2BD4-D277-73B09023E4B7}"/>
              </a:ext>
            </a:extLst>
          </p:cNvPr>
          <p:cNvSpPr/>
          <p:nvPr/>
        </p:nvSpPr>
        <p:spPr>
          <a:xfrm>
            <a:off x="5197183" y="869686"/>
            <a:ext cx="3489617" cy="3404127"/>
          </a:xfrm>
          <a:prstGeom prst="noSmoking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314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F7AB24-7255-C99C-F903-CD0393A11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photo of outer space">
            <a:extLst>
              <a:ext uri="{FF2B5EF4-FFF2-40B4-BE49-F238E27FC236}">
                <a16:creationId xmlns:a16="http://schemas.microsoft.com/office/drawing/2014/main" id="{04254106-8C2A-8016-76BD-619F7997E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8059" y="-494698"/>
            <a:ext cx="9222059" cy="613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4E5C6F-F3CE-CCED-7D10-B9F73A437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3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3766EB5-089D-E6FB-EE9F-926A85D37862}"/>
              </a:ext>
            </a:extLst>
          </p:cNvPr>
          <p:cNvSpPr txBox="1">
            <a:spLocks/>
          </p:cNvSpPr>
          <p:nvPr/>
        </p:nvSpPr>
        <p:spPr>
          <a:xfrm>
            <a:off x="244780" y="625430"/>
            <a:ext cx="7184571" cy="138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rgbClr val="0D72B9"/>
                </a:solidFill>
                <a:latin typeface="+mj-lt"/>
                <a:ea typeface="+mj-ea"/>
                <a:cs typeface="Verdana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enefits of GETs: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onitoring and control supp0rt resilience and reliability.</a:t>
            </a:r>
          </a:p>
        </p:txBody>
      </p:sp>
      <p:pic>
        <p:nvPicPr>
          <p:cNvPr id="2" name="Content Placeholder 6" descr="A blue cover with white text&#10;&#10;Description automatically generated">
            <a:extLst>
              <a:ext uri="{FF2B5EF4-FFF2-40B4-BE49-F238E27FC236}">
                <a16:creationId xmlns:a16="http://schemas.microsoft.com/office/drawing/2014/main" id="{1FE35E90-9852-6ED3-5DE9-594FE7486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1669" y="93127"/>
            <a:ext cx="2647551" cy="3299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09633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671C7-0504-5E07-49CD-567764512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C6ED5-7354-20E7-5532-88AFD50C4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2393"/>
            <a:ext cx="8229600" cy="857250"/>
          </a:xfrm>
        </p:spPr>
        <p:txBody>
          <a:bodyPr/>
          <a:lstStyle/>
          <a:p>
            <a:r>
              <a:rPr lang="en-US" sz="2800" dirty="0"/>
              <a:t>Transmission expansion paves the road to the 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5C39D0-511F-7E97-4908-DCD258F1E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3A1AB1-A93F-4815-4623-5C5F7BF4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4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15F2AAD-11D8-577E-3FB8-084013BDA66B}"/>
              </a:ext>
            </a:extLst>
          </p:cNvPr>
          <p:cNvSpPr txBox="1">
            <a:spLocks/>
          </p:cNvSpPr>
          <p:nvPr/>
        </p:nvSpPr>
        <p:spPr>
          <a:xfrm>
            <a:off x="93131" y="972423"/>
            <a:ext cx="2661786" cy="395562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2"/>
                </a:solidFill>
                <a:latin typeface="+mn-lt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000" dirty="0">
                <a:solidFill>
                  <a:schemeClr val="tx1"/>
                </a:solidFill>
              </a:rPr>
              <a:t>“To unlock the full emissions reduction potential of the Inflation Reduction Act, </a:t>
            </a:r>
          </a:p>
          <a:p>
            <a:pPr marL="0" indent="0" algn="ctr">
              <a:buFont typeface="Arial"/>
              <a:buNone/>
            </a:pPr>
            <a:r>
              <a:rPr lang="en-US" sz="2000" b="1" dirty="0">
                <a:solidFill>
                  <a:schemeClr val="tx1"/>
                </a:solidFill>
              </a:rPr>
              <a:t>the pace of transmission expansion must more than double </a:t>
            </a:r>
          </a:p>
          <a:p>
            <a:pPr marL="0" indent="0" algn="ctr">
              <a:buFont typeface="Arial"/>
              <a:buNone/>
            </a:pPr>
            <a:r>
              <a:rPr lang="en-US" sz="2000" dirty="0">
                <a:solidFill>
                  <a:schemeClr val="tx1"/>
                </a:solidFill>
              </a:rPr>
              <a:t>the rate over the last decade”</a:t>
            </a:r>
          </a:p>
        </p:txBody>
      </p:sp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37925ACE-60BE-9D84-CF44-178C10583A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1343" y="972423"/>
            <a:ext cx="6159526" cy="3185923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39A510A-8428-4C22-622D-7CD5932304CD}"/>
              </a:ext>
            </a:extLst>
          </p:cNvPr>
          <p:cNvSpPr txBox="1">
            <a:spLocks/>
          </p:cNvSpPr>
          <p:nvPr/>
        </p:nvSpPr>
        <p:spPr>
          <a:xfrm>
            <a:off x="909931" y="4791006"/>
            <a:ext cx="12007948" cy="4360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b="1" kern="1200" baseline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dirty="0">
                <a:solidFill>
                  <a:schemeClr val="bg1"/>
                </a:solidFill>
              </a:rPr>
              <a:t>https://</a:t>
            </a:r>
            <a:r>
              <a:rPr lang="en-US" sz="1100" dirty="0" err="1">
                <a:solidFill>
                  <a:schemeClr val="bg1"/>
                </a:solidFill>
              </a:rPr>
              <a:t>repeatproject.org</a:t>
            </a:r>
            <a:r>
              <a:rPr lang="en-US" sz="1100" dirty="0">
                <a:solidFill>
                  <a:schemeClr val="bg1"/>
                </a:solidFill>
              </a:rPr>
              <a:t>/docs/REPEAT_IRA_Transmission_2022-09-21.pdf</a:t>
            </a:r>
          </a:p>
        </p:txBody>
      </p:sp>
    </p:spTree>
    <p:extLst>
      <p:ext uri="{BB962C8B-B14F-4D97-AF65-F5344CB8AC3E}">
        <p14:creationId xmlns:p14="http://schemas.microsoft.com/office/powerpoint/2010/main" val="25327098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8F0260-72B4-B923-FAC7-8CA4E30CE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FC1E9D-223F-DE18-C30F-8E3196DCD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doption in the US – many pilots, few in opera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8F6C72-703B-ACE8-286E-B401CE419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EFE5A4-E470-391C-8FE8-FF91F3E9F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5</a:t>
            </a:fld>
            <a:endParaRPr lang="en-US"/>
          </a:p>
        </p:txBody>
      </p:sp>
      <p:pic>
        <p:nvPicPr>
          <p:cNvPr id="5" name="Picture 4" descr="A map of the united states&#10;&#10;Description automatically generated">
            <a:extLst>
              <a:ext uri="{FF2B5EF4-FFF2-40B4-BE49-F238E27FC236}">
                <a16:creationId xmlns:a16="http://schemas.microsoft.com/office/drawing/2014/main" id="{910EEC6B-1C10-E475-4A8C-63BEF9010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932" y="1226942"/>
            <a:ext cx="4106561" cy="30862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0D548046-038C-E402-D01F-5E35BA608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026" y="1226942"/>
            <a:ext cx="2500042" cy="11150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21287B-A43F-8E08-BB29-5A846A0BB36B}"/>
              </a:ext>
            </a:extLst>
          </p:cNvPr>
          <p:cNvSpPr txBox="1"/>
          <p:nvPr/>
        </p:nvSpPr>
        <p:spPr>
          <a:xfrm>
            <a:off x="5714027" y="2616852"/>
            <a:ext cx="30567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PPL Electric Utilities</a:t>
            </a:r>
            <a:r>
              <a:rPr lang="en-US" dirty="0"/>
              <a:t>: First operational DLR deployment reduced congestion by $60 million in first year, expecting $23 million per year ongoing </a:t>
            </a:r>
          </a:p>
        </p:txBody>
      </p:sp>
    </p:spTree>
    <p:extLst>
      <p:ext uri="{BB962C8B-B14F-4D97-AF65-F5344CB8AC3E}">
        <p14:creationId xmlns:p14="http://schemas.microsoft.com/office/powerpoint/2010/main" val="1956475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2CD16-4C46-6EC7-E605-EB1572674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FB7C2-8061-01D1-2398-3A142FB9C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" y="205740"/>
            <a:ext cx="8395970" cy="535530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Barriers for GETs: </a:t>
            </a:r>
            <a:r>
              <a:rPr lang="en-US" sz="2800" i="1" dirty="0"/>
              <a:t>Institutional Inertia + Incen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DA0C2-F4D4-D4BF-6614-9663FB9C1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75248"/>
            <a:ext cx="8119533" cy="3621275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10000"/>
              </a:lnSpc>
              <a:spcBef>
                <a:spcPts val="1588"/>
              </a:spcBef>
            </a:pPr>
            <a:r>
              <a:rPr lang="en-US" sz="2800" b="1" dirty="0">
                <a:ea typeface="Roboto Light"/>
                <a:cs typeface="Roboto Light"/>
              </a:rPr>
              <a:t>Regulator support for innovation</a:t>
            </a:r>
            <a:endParaRPr lang="en-US" sz="2800" b="1" dirty="0">
              <a:cs typeface="Roboto Light"/>
            </a:endParaRPr>
          </a:p>
          <a:p>
            <a:pPr lvl="1">
              <a:lnSpc>
                <a:spcPct val="110000"/>
              </a:lnSpc>
              <a:spcBef>
                <a:spcPts val="1588"/>
              </a:spcBef>
            </a:pPr>
            <a:r>
              <a:rPr lang="en-US" sz="2900" dirty="0">
                <a:ea typeface="Roboto Light"/>
                <a:cs typeface="Roboto Light"/>
              </a:rPr>
              <a:t>Innovation for customer benefit should be encouraged</a:t>
            </a:r>
          </a:p>
          <a:p>
            <a:pPr>
              <a:lnSpc>
                <a:spcPct val="120000"/>
              </a:lnSpc>
              <a:spcBef>
                <a:spcPts val="1588"/>
              </a:spcBef>
            </a:pPr>
            <a:r>
              <a:rPr lang="en-US" sz="2800" b="1" dirty="0">
                <a:ea typeface="Roboto Light"/>
                <a:cs typeface="Roboto Light"/>
              </a:rPr>
              <a:t>Prioritization of system and process changes</a:t>
            </a:r>
          </a:p>
          <a:p>
            <a:pPr lvl="1">
              <a:lnSpc>
                <a:spcPct val="120000"/>
              </a:lnSpc>
              <a:spcBef>
                <a:spcPts val="1588"/>
              </a:spcBef>
            </a:pPr>
            <a:r>
              <a:rPr lang="en-US" sz="2800" dirty="0">
                <a:ea typeface="Roboto Light"/>
                <a:cs typeface="Roboto Light"/>
              </a:rPr>
              <a:t>Many planners, utility executives, and stakeholders have never evaluated or deployed advanced transmission technologies</a:t>
            </a:r>
          </a:p>
          <a:p>
            <a:pPr>
              <a:lnSpc>
                <a:spcPct val="120000"/>
              </a:lnSpc>
              <a:spcBef>
                <a:spcPts val="1588"/>
              </a:spcBef>
            </a:pPr>
            <a:r>
              <a:rPr lang="en-US" sz="2800" b="1" dirty="0">
                <a:ea typeface="Roboto Light"/>
                <a:cs typeface="Roboto Light"/>
              </a:rPr>
              <a:t>Incentives</a:t>
            </a:r>
          </a:p>
          <a:p>
            <a:pPr lvl="1">
              <a:lnSpc>
                <a:spcPct val="120000"/>
              </a:lnSpc>
              <a:spcBef>
                <a:spcPts val="1588"/>
              </a:spcBef>
            </a:pPr>
            <a:r>
              <a:rPr lang="en-US" sz="2900" dirty="0">
                <a:ea typeface="Roboto Light"/>
                <a:cs typeface="Roboto Light"/>
              </a:rPr>
              <a:t>Lower returns on lower capital cost expenditures, and uncertainty about cost recover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7109CF-39C8-4E7E-5078-B330636DD72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6B5A42-4AA6-D260-5C27-023DF7781B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3475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076BA7-C2D7-C1A4-C106-CD0DFE6FB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438EE2-F6F8-8ED1-8A7F-4274A0EB42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licy for GE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16DD90-AE3D-9548-AEB6-770DB564AD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7C64E5-8EA8-7858-E916-7682BBE46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9CD02E-45AC-8CA5-7AEF-113E9359C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293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649C88-AA17-D5AF-F905-9351334F6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B7503-2756-9D72-AF8E-C3092C6EF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2393"/>
            <a:ext cx="8229600" cy="857250"/>
          </a:xfrm>
        </p:spPr>
        <p:txBody>
          <a:bodyPr/>
          <a:lstStyle/>
          <a:p>
            <a:r>
              <a:rPr lang="en-US" dirty="0"/>
              <a:t>State regulation and legis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C97660-1EE8-7B76-A051-64C7C23030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52" y="1062768"/>
            <a:ext cx="8694821" cy="3259632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0"/>
              </a:spcBef>
            </a:pPr>
            <a:r>
              <a:rPr lang="en-US" sz="1900" b="1" i="0" u="none" strike="noStrike" dirty="0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PUCs ask how GETs are being evaluated</a:t>
            </a: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chemeClr val="accent6">
                    <a:lumMod val="50000"/>
                  </a:schemeClr>
                </a:solidFill>
              </a:rPr>
              <a:t>Colorado PUC Transmission Planning Docket (Proceeding 23M-0472E)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US" sz="1900" i="0" u="none" strike="noStrike" dirty="0">
              <a:solidFill>
                <a:schemeClr val="accent6">
                  <a:lumMod val="50000"/>
                </a:schemeClr>
              </a:solidFill>
              <a:effectLst/>
              <a:latin typeface="Aptos" panose="020B00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900" b="1" i="0" u="none" strike="noStrike" dirty="0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Require GETs/HPC evaluation in CPCN applications</a:t>
            </a:r>
          </a:p>
          <a:p>
            <a:pPr lvl="1">
              <a:spcBef>
                <a:spcPts val="0"/>
              </a:spcBef>
            </a:pPr>
            <a:r>
              <a:rPr lang="en-US" sz="1900" i="0" u="none" strike="noStrike" dirty="0">
                <a:solidFill>
                  <a:schemeClr val="accent6">
                    <a:lumMod val="50000"/>
                  </a:schemeClr>
                </a:solidFill>
                <a:effectLst/>
                <a:latin typeface="Aptos" panose="020B0004020202020204" pitchFamily="34" charset="0"/>
              </a:rPr>
              <a:t>Original VA legislation (</a:t>
            </a:r>
            <a:r>
              <a:rPr lang="en-US" sz="1900" i="0" u="none" strike="noStrike" dirty="0">
                <a:solidFill>
                  <a:schemeClr val="accent6">
                    <a:lumMod val="50000"/>
                  </a:schemeClr>
                </a:solidFill>
                <a:effectLst/>
                <a:latin typeface="Aptos" panose="020B0004020202020204" pitchFamily="34" charset="0"/>
                <a:hlinkClick r:id="rId2"/>
              </a:rPr>
              <a:t>HB862</a:t>
            </a:r>
            <a:r>
              <a:rPr lang="en-US" sz="1900" i="0" u="none" strike="noStrike" dirty="0">
                <a:solidFill>
                  <a:schemeClr val="accent6">
                    <a:lumMod val="50000"/>
                  </a:schemeClr>
                </a:solidFill>
                <a:effectLst/>
                <a:latin typeface="Aptos" panose="020B0004020202020204" pitchFamily="34" charset="0"/>
              </a:rPr>
              <a:t>)</a:t>
            </a: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Loading order policy: optimization first, then reinforcement, then expansion</a:t>
            </a:r>
            <a:endParaRPr lang="en-US" sz="1900" i="0" u="none" strike="noStrike" dirty="0">
              <a:solidFill>
                <a:schemeClr val="accent6">
                  <a:lumMod val="50000"/>
                </a:schemeClr>
              </a:solidFill>
              <a:effectLst/>
              <a:latin typeface="Aptos" panose="020B0004020202020204" pitchFamily="34" charset="0"/>
            </a:endParaRPr>
          </a:p>
          <a:p>
            <a:pPr marL="457200" lvl="1" indent="0">
              <a:spcBef>
                <a:spcPts val="0"/>
              </a:spcBef>
              <a:buNone/>
            </a:pPr>
            <a:endParaRPr lang="en-US" sz="1900" i="0" u="none" strike="noStrike" dirty="0">
              <a:solidFill>
                <a:schemeClr val="accent6">
                  <a:lumMod val="50000"/>
                </a:schemeClr>
              </a:solidFill>
              <a:effectLst/>
              <a:latin typeface="Aptos" panose="020B00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900" b="1" i="0" u="none" strike="noStrike" dirty="0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Create incentives for utilities to go after federal funding for GETs/HPC deployment. </a:t>
            </a:r>
          </a:p>
          <a:p>
            <a:pPr lvl="1">
              <a:spcBef>
                <a:spcPts val="0"/>
              </a:spcBef>
            </a:pPr>
            <a:r>
              <a:rPr lang="en-US" sz="1900" i="0" u="none" strike="noStrike" dirty="0">
                <a:solidFill>
                  <a:schemeClr val="accent6">
                    <a:lumMod val="50000"/>
                  </a:schemeClr>
                </a:solidFill>
                <a:effectLst/>
                <a:latin typeface="Aptos" panose="020B0004020202020204" pitchFamily="34" charset="0"/>
              </a:rPr>
              <a:t>Washington UTC ROE adder on federal $ (Docket U-240013)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US" sz="1900" i="0" u="none" strike="noStrike" dirty="0">
              <a:solidFill>
                <a:schemeClr val="accent6">
                  <a:lumMod val="50000"/>
                </a:schemeClr>
              </a:solidFill>
              <a:effectLst/>
              <a:latin typeface="Aptos" panose="020B00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900" b="1" i="0" u="none" strike="noStrike" dirty="0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Require GETs/HPCs in economic and reliability transmission planning</a:t>
            </a:r>
            <a:r>
              <a:rPr lang="en-US" sz="1900" b="1" dirty="0">
                <a:solidFill>
                  <a:srgbClr val="212121"/>
                </a:solidFill>
                <a:latin typeface="Aptos" panose="020B0004020202020204" pitchFamily="34" charset="0"/>
              </a:rPr>
              <a:t> or commissioning studies.</a:t>
            </a: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rgbClr val="212121"/>
                </a:solidFill>
                <a:latin typeface="Aptos" panose="020B0004020202020204" pitchFamily="34" charset="0"/>
                <a:hlinkClick r:id="rId3"/>
              </a:rPr>
              <a:t>Minnesota law</a:t>
            </a:r>
            <a:endParaRPr lang="en-US" sz="1900" dirty="0">
              <a:solidFill>
                <a:srgbClr val="212121"/>
              </a:solidFill>
              <a:latin typeface="Aptos" panose="020B00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rgbClr val="212121"/>
                </a:solidFill>
                <a:latin typeface="Aptos" panose="020B0004020202020204" pitchFamily="34" charset="0"/>
                <a:hlinkClick r:id="rId4"/>
              </a:rPr>
              <a:t>California law</a:t>
            </a:r>
            <a:endParaRPr lang="en-US" sz="1900" dirty="0">
              <a:solidFill>
                <a:srgbClr val="212121"/>
              </a:solidFill>
              <a:latin typeface="Aptos" panose="020B00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chemeClr val="accent6">
                    <a:lumMod val="50000"/>
                  </a:schemeClr>
                </a:solidFill>
              </a:rPr>
              <a:t>Illinois Commerce Commission Renewable Energy Access Plan (22-0749)</a:t>
            </a:r>
          </a:p>
          <a:p>
            <a:pPr lvl="1">
              <a:spcBef>
                <a:spcPts val="0"/>
              </a:spcBef>
            </a:pPr>
            <a:r>
              <a:rPr lang="en-US" sz="1900" dirty="0">
                <a:solidFill>
                  <a:schemeClr val="accent6">
                    <a:lumMod val="50000"/>
                  </a:schemeClr>
                </a:solidFill>
              </a:rPr>
              <a:t>New York Coordinated Grid Planning Process/ATWG (Case 20-E-0197)</a:t>
            </a:r>
            <a:endParaRPr lang="en-US" sz="1900" dirty="0">
              <a:solidFill>
                <a:schemeClr val="accent6">
                  <a:lumMod val="5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A2F082-9803-FC8E-2D63-E00DD503E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C370FD-D02E-2386-4144-F36BA15F2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037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F873F5-D932-0F30-0515-10AD3DE35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EABDF-3D45-F9DE-F92C-3939CAAC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2510"/>
            <a:ext cx="8594521" cy="857250"/>
          </a:xfrm>
        </p:spPr>
        <p:txBody>
          <a:bodyPr/>
          <a:lstStyle/>
          <a:p>
            <a:r>
              <a:rPr lang="en-US" dirty="0"/>
              <a:t>Federal poli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B5E103-1953-3B29-11FF-5B3D335BC9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41145"/>
            <a:ext cx="8229600" cy="3259632"/>
          </a:xfrm>
        </p:spPr>
        <p:txBody>
          <a:bodyPr>
            <a:normAutofit fontScale="25000" lnSpcReduction="20000"/>
          </a:bodyPr>
          <a:lstStyle/>
          <a:p>
            <a:r>
              <a:rPr lang="en-US" sz="6400" b="1" dirty="0"/>
              <a:t>White House + 22 governors </a:t>
            </a:r>
            <a:r>
              <a:rPr lang="en-US" sz="6400" dirty="0"/>
              <a:t>share goal to upgrade 100k miles of grid in 5 years – Nevada could join!</a:t>
            </a:r>
          </a:p>
          <a:p>
            <a:endParaRPr lang="en-US" sz="6400" b="1" dirty="0"/>
          </a:p>
          <a:p>
            <a:r>
              <a:rPr lang="en-US" sz="6400" b="1" dirty="0"/>
              <a:t>DOE </a:t>
            </a:r>
            <a:r>
              <a:rPr lang="en-US" sz="6400" dirty="0"/>
              <a:t>– billions in eligible IIJA programs will help build utility experience with GETs (and further grants through EPA, USDA) </a:t>
            </a:r>
          </a:p>
          <a:p>
            <a:pPr lvl="1"/>
            <a:r>
              <a:rPr lang="en-US" sz="6400" dirty="0"/>
              <a:t>CA won $600 million federal grant for DLR and reconductoring.</a:t>
            </a:r>
          </a:p>
          <a:p>
            <a:endParaRPr lang="en-US" sz="6400" dirty="0"/>
          </a:p>
          <a:p>
            <a:r>
              <a:rPr lang="en-US" sz="6400" b="1" dirty="0"/>
              <a:t>FERC Order No. 881 </a:t>
            </a:r>
            <a:r>
              <a:rPr lang="en-US" sz="6400" dirty="0"/>
              <a:t>mandates that RTOs accept dynamic line ratings by 2025, and utilities use Ambient Adjusted Ratings.</a:t>
            </a:r>
          </a:p>
          <a:p>
            <a:pPr marL="457200" lvl="1" indent="0">
              <a:buNone/>
            </a:pPr>
            <a:endParaRPr lang="en-US" sz="6400" dirty="0"/>
          </a:p>
          <a:p>
            <a:r>
              <a:rPr lang="en-US" sz="6400" b="1" dirty="0"/>
              <a:t>FERC Order No. 2023 </a:t>
            </a:r>
            <a:r>
              <a:rPr lang="en-US" sz="6400" dirty="0"/>
              <a:t>requires the consideration of Advanced Power Flow Control in generator interconnection processes, with Topology Optimization and Dynamic Line Ratings as optional.</a:t>
            </a:r>
          </a:p>
          <a:p>
            <a:endParaRPr lang="en-US" sz="6400" dirty="0"/>
          </a:p>
          <a:p>
            <a:r>
              <a:rPr lang="en-US" sz="6400" b="1" dirty="0"/>
              <a:t>FERC Order No. 1920 </a:t>
            </a:r>
            <a:r>
              <a:rPr lang="en-US" sz="6400" dirty="0"/>
              <a:t>requires GETs in Order 1000 planning and 20-year planning, to replace or improve other upgra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9999B5-D816-EA40-5C36-FDCCBC9A7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2D2A82-1BAC-2D0D-DAEC-170C7F255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620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4AE53-2A42-FC21-587C-309317C7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4959F4-8B95-FDC2-A10A-75E0DF87A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D57876-F627-3E93-7F3C-7F95FFC4D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B53E41-B2E3-1E10-253C-635464227CAC}"/>
              </a:ext>
            </a:extLst>
          </p:cNvPr>
          <p:cNvSpPr txBox="1">
            <a:spLocks/>
          </p:cNvSpPr>
          <p:nvPr/>
        </p:nvSpPr>
        <p:spPr>
          <a:xfrm>
            <a:off x="457200" y="741270"/>
            <a:ext cx="8229600" cy="3259632"/>
          </a:xfrm>
          <a:prstGeom prst="rect">
            <a:avLst/>
          </a:prstGeom>
        </p:spPr>
        <p:txBody>
          <a:bodyPr vert="horz" lIns="18288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en-US" b="1" dirty="0">
              <a:solidFill>
                <a:schemeClr val="accent1"/>
              </a:solidFill>
            </a:endParaRP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About the WATT Coalition</a:t>
            </a: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Order 1920 on Transmission Technologies</a:t>
            </a: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What are GETs</a:t>
            </a: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Benefits of GETs</a:t>
            </a: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Barriers </a:t>
            </a:r>
          </a:p>
          <a:p>
            <a:pPr marL="457200" indent="-457200">
              <a:buAutoNum type="arabicPeriod"/>
            </a:pPr>
            <a:r>
              <a:rPr lang="en-US" dirty="0">
                <a:solidFill>
                  <a:srgbClr val="002060"/>
                </a:solidFill>
              </a:rPr>
              <a:t>Polic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7242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51BE55-AF0A-051D-FFD3-C3AE43CAB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205C5-DC77-F73D-778A-B602006FE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2393"/>
            <a:ext cx="8229600" cy="857250"/>
          </a:xfrm>
        </p:spPr>
        <p:txBody>
          <a:bodyPr/>
          <a:lstStyle/>
          <a:p>
            <a:r>
              <a:rPr lang="en-US" dirty="0"/>
              <a:t>Pending federal 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497C47-B111-49D6-E9B4-47EBF76832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r>
              <a:rPr lang="en-US" sz="6600" b="1" dirty="0"/>
              <a:t>FERC Docket No. RM24-6 </a:t>
            </a:r>
            <a:r>
              <a:rPr lang="en-US" sz="6600" dirty="0"/>
              <a:t>is an Advanced Notice of Proposed Rulemaking to require solar heating to be included in line ratings, and DLR with wind-speed cooling on some transmission lines.</a:t>
            </a:r>
            <a:endParaRPr lang="en-US" sz="6600" b="1" dirty="0"/>
          </a:p>
          <a:p>
            <a:pPr marL="0" indent="0">
              <a:buNone/>
            </a:pPr>
            <a:endParaRPr lang="en-US" sz="6400" dirty="0"/>
          </a:p>
          <a:p>
            <a:r>
              <a:rPr lang="en-US" sz="6400" b="1" dirty="0"/>
              <a:t>FERC is considering </a:t>
            </a:r>
            <a:r>
              <a:rPr lang="en-US" sz="6400" dirty="0"/>
              <a:t>additional proposals to bring GETs into common practice</a:t>
            </a:r>
          </a:p>
          <a:p>
            <a:pPr lvl="1"/>
            <a:r>
              <a:rPr lang="en-US" sz="6400" dirty="0"/>
              <a:t>Shared savings incentive (RM20-10 &amp; AD19-19) </a:t>
            </a:r>
          </a:p>
          <a:p>
            <a:pPr lvl="2"/>
            <a:r>
              <a:rPr lang="en-US" sz="6400" b="1" dirty="0">
                <a:hlinkClick r:id="rId2"/>
              </a:rPr>
              <a:t>Advancing GETs Act S. 3918 </a:t>
            </a:r>
            <a:r>
              <a:rPr lang="en-US" sz="6400" dirty="0"/>
              <a:t>would require FERC to implement a shared savings incentive.</a:t>
            </a:r>
          </a:p>
          <a:p>
            <a:pPr lvl="1"/>
            <a:r>
              <a:rPr lang="en-US" sz="6400" dirty="0"/>
              <a:t>Improved transmission operations oversight (AD22-8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717547-8246-4D58-B34E-3864EBD8D2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E241FC-6822-8885-B536-897B6F66E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63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orking for Advanced Transmission Technologies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/>
              <a:t>For more information contact </a:t>
            </a:r>
          </a:p>
          <a:p>
            <a:r>
              <a:rPr lang="en-US" sz="2000"/>
              <a:t>Julia </a:t>
            </a:r>
            <a:r>
              <a:rPr lang="en-US" sz="2000" err="1"/>
              <a:t>Selker</a:t>
            </a:r>
            <a:r>
              <a:rPr lang="en-US" sz="2000"/>
              <a:t> / </a:t>
            </a:r>
            <a:r>
              <a:rPr lang="en-US" sz="2000" err="1"/>
              <a:t>jselker@gridstrategiesllc.com</a:t>
            </a:r>
            <a:endParaRPr lang="en-US" sz="2000"/>
          </a:p>
          <a:p>
            <a:r>
              <a:rPr lang="en-US" sz="2000" err="1"/>
              <a:t>www.watt-transmission.org</a:t>
            </a:r>
            <a:endParaRPr lang="en-US" sz="2000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034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C09C1-7683-DD26-14AC-378DB2229F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A7F7B4-9D41-4DD9-3FD1-AE8C67E062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6332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281C0-C906-34DF-14A4-D5F5BB9D6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C8273-9031-CB29-0847-C9287C8FE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727735" y="0"/>
            <a:ext cx="8229600" cy="857250"/>
          </a:xfrm>
        </p:spPr>
        <p:txBody>
          <a:bodyPr/>
          <a:lstStyle/>
          <a:p>
            <a:pPr algn="ctr"/>
            <a:r>
              <a:rPr lang="en-US" dirty="0"/>
              <a:t>Dynamic Line Ratin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DBCD66-BEA3-B89B-0B3C-C90B9FB71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32934B-382B-592B-F577-282197A8A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730B434B-7CD8-72EB-A8EF-8FDC370B80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707"/>
            <a:ext cx="4943384" cy="30556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8EC1AAC-053D-967C-5CBC-5CA631428E0C}"/>
              </a:ext>
            </a:extLst>
          </p:cNvPr>
          <p:cNvSpPr txBox="1"/>
          <p:nvPr/>
        </p:nvSpPr>
        <p:spPr>
          <a:xfrm>
            <a:off x="5640404" y="452387"/>
            <a:ext cx="325397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rst movers:</a:t>
            </a:r>
          </a:p>
          <a:p>
            <a:endParaRPr lang="en-US" dirty="0"/>
          </a:p>
          <a:p>
            <a:r>
              <a:rPr lang="en-US" dirty="0">
                <a:solidFill>
                  <a:schemeClr val="tx2"/>
                </a:solidFill>
              </a:rPr>
              <a:t>Since 2012, Belgium sees </a:t>
            </a:r>
            <a:r>
              <a:rPr lang="en-US" dirty="0">
                <a:solidFill>
                  <a:schemeClr val="tx2"/>
                </a:solidFill>
                <a:hlinkClick r:id="rId4"/>
              </a:rPr>
              <a:t>&gt;20% capacity increases</a:t>
            </a:r>
            <a:r>
              <a:rPr lang="en-US" dirty="0">
                <a:solidFill>
                  <a:schemeClr val="tx2"/>
                </a:solidFill>
              </a:rPr>
              <a:t> &gt;90% of the time (increase capped at 30%).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PPL Electric Utilities reduces redispatch costs by </a:t>
            </a:r>
            <a:r>
              <a:rPr lang="en-US" dirty="0">
                <a:solidFill>
                  <a:schemeClr val="tx2"/>
                </a:solidFill>
                <a:hlinkClick r:id="rId5"/>
              </a:rPr>
              <a:t>$60 million </a:t>
            </a:r>
            <a:r>
              <a:rPr lang="en-US" dirty="0">
                <a:solidFill>
                  <a:schemeClr val="tx2"/>
                </a:solidFill>
              </a:rPr>
              <a:t>in first year of 2-line DLR deployment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AES found </a:t>
            </a:r>
            <a:r>
              <a:rPr lang="en-US" dirty="0">
                <a:solidFill>
                  <a:schemeClr val="tx2"/>
                </a:solidFill>
                <a:hlinkClick r:id="rId6"/>
              </a:rPr>
              <a:t>61%</a:t>
            </a:r>
            <a:r>
              <a:rPr lang="en-US" dirty="0">
                <a:solidFill>
                  <a:schemeClr val="tx2"/>
                </a:solidFill>
              </a:rPr>
              <a:t> average capacity increase over static line ratings on a 345kV line</a:t>
            </a:r>
          </a:p>
        </p:txBody>
      </p:sp>
    </p:spTree>
    <p:extLst>
      <p:ext uri="{BB962C8B-B14F-4D97-AF65-F5344CB8AC3E}">
        <p14:creationId xmlns:p14="http://schemas.microsoft.com/office/powerpoint/2010/main" val="762474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5A0677-6E6E-A00F-2322-737E40194E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59441-1F72-65E4-38AC-D7AA88A20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0447"/>
            <a:ext cx="8229600" cy="857250"/>
          </a:xfrm>
        </p:spPr>
        <p:txBody>
          <a:bodyPr/>
          <a:lstStyle/>
          <a:p>
            <a:pPr algn="ctr"/>
            <a:r>
              <a:rPr lang="en-US" dirty="0"/>
              <a:t>Advanced Power Flow Contro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A1D1D6-853B-0070-4B3B-9FBB96772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23489E-2EDA-5301-C240-755CB089A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4</a:t>
            </a:fld>
            <a:endParaRPr lang="en-US"/>
          </a:p>
        </p:txBody>
      </p:sp>
      <p:pic>
        <p:nvPicPr>
          <p:cNvPr id="7" name="Picture 6" descr="Diagram, engineering drawing&#10;&#10;Description automatically generated">
            <a:extLst>
              <a:ext uri="{FF2B5EF4-FFF2-40B4-BE49-F238E27FC236}">
                <a16:creationId xmlns:a16="http://schemas.microsoft.com/office/drawing/2014/main" id="{3573B344-0F83-7CE7-BEC1-B74129D406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279" y="1136272"/>
            <a:ext cx="5210190" cy="23898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BA2B0D-2A29-C525-4738-59E8CBE1762D}"/>
              </a:ext>
            </a:extLst>
          </p:cNvPr>
          <p:cNvSpPr txBox="1"/>
          <p:nvPr/>
        </p:nvSpPr>
        <p:spPr>
          <a:xfrm>
            <a:off x="5437634" y="936144"/>
            <a:ext cx="357808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>
                <a:hlinkClick r:id="rId4"/>
              </a:rPr>
              <a:t>VELCO DOE GRIP Grant with EPRI to increase VT-NY transfer capacity</a:t>
            </a:r>
            <a:endParaRPr lang="en-US" dirty="0"/>
          </a:p>
          <a:p>
            <a:endParaRPr lang="en-US" dirty="0"/>
          </a:p>
          <a:p>
            <a:r>
              <a:rPr lang="en-US" sz="1800" dirty="0">
                <a:hlinkClick r:id="rId5"/>
              </a:rPr>
              <a:t>Central Hudson unlocks 185 MW of transmission capacity</a:t>
            </a:r>
            <a:r>
              <a:rPr lang="en-US" sz="1800" dirty="0"/>
              <a:t> </a:t>
            </a:r>
          </a:p>
          <a:p>
            <a:endParaRPr lang="en-US" dirty="0"/>
          </a:p>
          <a:p>
            <a:r>
              <a:rPr lang="en-US" dirty="0">
                <a:hlinkClick r:id="rId6"/>
              </a:rPr>
              <a:t>California utilities identify reliability applicati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86902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FF28A-F0D3-31E1-933F-F5A899F6B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FC9D5-5C40-B1C0-6A77-6FF3AE9E4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57250"/>
          </a:xfrm>
        </p:spPr>
        <p:txBody>
          <a:bodyPr/>
          <a:lstStyle/>
          <a:p>
            <a:pPr algn="ctr"/>
            <a:r>
              <a:rPr lang="en-US" dirty="0"/>
              <a:t>Topology Optimiz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123A6-DD33-3780-D999-EA572B594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FBA28-3A4B-07EA-E5BC-C416FF652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05AF685-6F92-4E80-4241-1204BB8B9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14191"/>
            <a:ext cx="5337921" cy="25625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C8B06B-6B80-83EF-A082-9425E62FC4C4}"/>
              </a:ext>
            </a:extLst>
          </p:cNvPr>
          <p:cNvSpPr txBox="1"/>
          <p:nvPr/>
        </p:nvSpPr>
        <p:spPr>
          <a:xfrm>
            <a:off x="5337921" y="1066987"/>
            <a:ext cx="380607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SO New England and SPP using Topology Optimization for outage planning</a:t>
            </a:r>
          </a:p>
          <a:p>
            <a:pPr algn="ctr"/>
            <a:endParaRPr lang="en-US" dirty="0"/>
          </a:p>
          <a:p>
            <a:pPr algn="ctr"/>
            <a:r>
              <a:rPr lang="en-US" dirty="0">
                <a:hlinkClick r:id="rId3"/>
              </a:rPr>
              <a:t>ERCOT</a:t>
            </a:r>
            <a:r>
              <a:rPr lang="en-US" dirty="0"/>
              <a:t> and </a:t>
            </a:r>
            <a:r>
              <a:rPr lang="en-US" dirty="0">
                <a:hlinkClick r:id="rId4"/>
              </a:rPr>
              <a:t>MISO</a:t>
            </a:r>
            <a:r>
              <a:rPr lang="en-US" dirty="0"/>
              <a:t> allow reconfigurations for congestion mitigation</a:t>
            </a:r>
          </a:p>
          <a:p>
            <a:pPr algn="ctr"/>
            <a:endParaRPr lang="en-US" dirty="0"/>
          </a:p>
          <a:p>
            <a:pPr algn="ctr"/>
            <a:r>
              <a:rPr lang="en-US" dirty="0">
                <a:solidFill>
                  <a:srgbClr val="004DBD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udy: Topology Optimization could reduce PJM congestion costs by 50% on ave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8703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5370A-116E-1BD4-4D74-4FEF09C27F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siderations for GETs in transmission plan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7A7856-E132-4D9E-E4C1-273AB90B3A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73DBE-DDDC-454A-A5CC-B5B6CF4D8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874E9E-76DF-E48B-9276-B2FD4992F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853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F725D-CC24-2C1F-E4D6-AAFC8E1E59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079EB-3B38-4743-BFBA-F3D9ABDFD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Power Flow Contr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B9F783-86EA-15D7-8B0A-9F2BB322D3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FC can be modeled as adjustable reactance in steady-state transmission planning models, by adding a “Modular Static Synchronous Series Compensator.”</a:t>
            </a:r>
          </a:p>
          <a:p>
            <a:pPr lvl="1"/>
            <a:r>
              <a:rPr lang="en-US" dirty="0"/>
              <a:t>In production cost modeling, a utility can model variable reactance. </a:t>
            </a:r>
          </a:p>
          <a:p>
            <a:pPr lvl="1"/>
            <a:r>
              <a:rPr lang="en-US" dirty="0"/>
              <a:t>Modeling packages exist to automatically insert MSSSCs, or utilities can work with vendors for assessment.</a:t>
            </a:r>
          </a:p>
          <a:p>
            <a:pPr lvl="1"/>
            <a:r>
              <a:rPr lang="en-US" dirty="0"/>
              <a:t>Modeling packages are available for dynamic studi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39B250-DB90-3939-4F77-022127CFB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93A29C-EB87-924E-9E6C-8B702F3AA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464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BE815E-21E0-9851-EE09-06F9F9FE4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23631-8FE2-0D67-FAD3-78E5C16D9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Line Rat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184D8C-6DB3-FA68-8846-E2509026DB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646" y="1105437"/>
            <a:ext cx="7772400" cy="3661826"/>
          </a:xfrm>
        </p:spPr>
        <p:txBody>
          <a:bodyPr/>
          <a:lstStyle/>
          <a:p>
            <a:r>
              <a:rPr lang="en-US" dirty="0"/>
              <a:t>Scenarios should be self-consistent – if a line has 20%+ more capacity all winter, that should be recognized.</a:t>
            </a:r>
          </a:p>
          <a:p>
            <a:r>
              <a:rPr lang="en-US" dirty="0"/>
              <a:t>DLR can be deployed to mitigate constraints if they emerge before new infrastructure comes into service.</a:t>
            </a:r>
          </a:p>
          <a:p>
            <a:r>
              <a:rPr lang="en-US" dirty="0"/>
              <a:t>Many other study inputs are uncertain – planners can choose confidence levels when applying DLR uprates in planning scenario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DE819-B116-A659-ECED-C666C1963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CFB084-C8A3-A2AF-BB3D-6558E13F3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01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8F5A7-6C01-F51B-B3A5-80D895A13C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2BEA8-0F3D-2DC5-73F7-730644282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ology Optim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7ED37B-B62F-E101-B81C-9E879C008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05437"/>
            <a:ext cx="7772400" cy="3661826"/>
          </a:xfrm>
        </p:spPr>
        <p:txBody>
          <a:bodyPr/>
          <a:lstStyle/>
          <a:p>
            <a:r>
              <a:rPr lang="en-US" dirty="0"/>
              <a:t>Generation retirements and additions and new transmission infrastructure change grid topology.</a:t>
            </a:r>
          </a:p>
          <a:p>
            <a:pPr lvl="1"/>
            <a:r>
              <a:rPr lang="en-US" dirty="0"/>
              <a:t>Reconfigurations could resolve constraints that emerge with these changes at negligible cost.</a:t>
            </a:r>
          </a:p>
          <a:p>
            <a:r>
              <a:rPr lang="en-US" dirty="0"/>
              <a:t>Planners may find value in increasing optionality for future reconfigurations through substation desig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19468B-A8F9-403E-9977-41EA4F013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D9CE36-D776-FAF5-6844-B980C592C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525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6BF1F-3436-2DE3-3806-4732CF50B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91" y="149516"/>
            <a:ext cx="5778012" cy="862938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000" dirty="0">
                <a:latin typeface="Georgia"/>
                <a:cs typeface="Arial"/>
              </a:rPr>
              <a:t>Grid Enhancing Technologies: </a:t>
            </a:r>
            <a:br>
              <a:rPr lang="en-US" sz="800" dirty="0">
                <a:latin typeface="Georgia"/>
                <a:cs typeface="Arial"/>
              </a:rPr>
            </a:br>
            <a:r>
              <a:rPr lang="en-US" sz="1100" b="0" i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dware, software, or both that dynamically increase the </a:t>
            </a:r>
            <a:r>
              <a:rPr lang="en-US" sz="1100" i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, efficiency, reliability or safety</a:t>
            </a:r>
            <a:r>
              <a:rPr lang="en-US" sz="1100" b="0" i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power lines, faster and at lower cost than traditional grid infrastructure.</a:t>
            </a:r>
            <a:endParaRPr lang="en-US" sz="800" b="0" i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19E572-5E03-DB4D-0A7B-C6E40C67FA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38469" y="4793307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4 WATT Coal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2A643-D9C0-A755-4B0D-93D19D54C6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7200" y="4793307"/>
            <a:ext cx="2133600" cy="273844"/>
          </a:xfrm>
          <a:prstGeom prst="rect">
            <a:avLst/>
          </a:prstGeom>
        </p:spPr>
        <p:txBody>
          <a:bodyPr/>
          <a:lstStyle/>
          <a:p>
            <a:fld id="{CD7640A5-FB12-334C-A067-4A5A64E1E9F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3FE5B9F-882B-83AA-0EB3-7FFDAAF7E8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23762" y="1250864"/>
            <a:ext cx="1763040" cy="321759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>
                <a:solidFill>
                  <a:schemeClr val="tx1">
                    <a:lumMod val="50000"/>
                  </a:schemeClr>
                </a:solidFill>
              </a:rPr>
              <a:t>Mission statement: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E6A3CC-63D6-227B-C642-3B13CA4AEAF5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/>
              <a:t>The Working for Advanced Transmission Technologies (WATT) Coalition advocates for policy that supports wide deployment of Grid Enhancing Technologies (GETs) to accelerate the clean energy transition and lower energy costs.</a:t>
            </a:r>
          </a:p>
        </p:txBody>
      </p:sp>
      <p:pic>
        <p:nvPicPr>
          <p:cNvPr id="11" name="Picture 10" descr="WATT-web-rgb.png">
            <a:extLst>
              <a:ext uri="{FF2B5EF4-FFF2-40B4-BE49-F238E27FC236}">
                <a16:creationId xmlns:a16="http://schemas.microsoft.com/office/drawing/2014/main" id="{E77B7FBF-EB6D-C794-ED46-FEC5C266A8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174" y="208658"/>
            <a:ext cx="799444" cy="79944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0FA5B2B-6DAC-5468-BE30-26891CA37363}"/>
              </a:ext>
            </a:extLst>
          </p:cNvPr>
          <p:cNvSpPr txBox="1"/>
          <p:nvPr/>
        </p:nvSpPr>
        <p:spPr>
          <a:xfrm>
            <a:off x="6923762" y="3758282"/>
            <a:ext cx="1595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watt-transmission.org</a:t>
            </a:r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7C51E08-92CC-AF15-65B0-159B312B51DA}"/>
              </a:ext>
            </a:extLst>
          </p:cNvPr>
          <p:cNvGrpSpPr/>
          <p:nvPr/>
        </p:nvGrpSpPr>
        <p:grpSpPr>
          <a:xfrm>
            <a:off x="457200" y="1078613"/>
            <a:ext cx="5724395" cy="3394277"/>
            <a:chOff x="609600" y="1438151"/>
            <a:chExt cx="5386917" cy="4525702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7179647-8A41-72B4-DAD7-C3B05D6626DD}"/>
                </a:ext>
              </a:extLst>
            </p:cNvPr>
            <p:cNvCxnSpPr/>
            <p:nvPr userDrawn="1"/>
          </p:nvCxnSpPr>
          <p:spPr>
            <a:xfrm>
              <a:off x="609600" y="1438151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F135389-6C2D-82F4-95BE-8B65FE1A3AC0}"/>
                </a:ext>
              </a:extLst>
            </p:cNvPr>
            <p:cNvCxnSpPr/>
            <p:nvPr userDrawn="1"/>
          </p:nvCxnSpPr>
          <p:spPr>
            <a:xfrm>
              <a:off x="609600" y="5963853"/>
              <a:ext cx="5386917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2753EC27-3ECC-1584-0C94-E367CCEBE093}"/>
              </a:ext>
            </a:extLst>
          </p:cNvPr>
          <p:cNvSpPr/>
          <p:nvPr/>
        </p:nvSpPr>
        <p:spPr>
          <a:xfrm>
            <a:off x="-109639" y="4539050"/>
            <a:ext cx="6664411" cy="6586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collage of logos&#10;&#10;Description automatically generated">
            <a:extLst>
              <a:ext uri="{FF2B5EF4-FFF2-40B4-BE49-F238E27FC236}">
                <a16:creationId xmlns:a16="http://schemas.microsoft.com/office/drawing/2014/main" id="{60B8155C-6A6E-A3DB-6E15-1081C851BC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270" y="1079989"/>
            <a:ext cx="5780942" cy="406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7169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80" y="205740"/>
            <a:ext cx="8395970" cy="53553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pplications of GET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0796" y="787016"/>
            <a:ext cx="7916087" cy="3391251"/>
          </a:xfrm>
        </p:spPr>
        <p:txBody>
          <a:bodyPr>
            <a:normAutofit/>
          </a:bodyPr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ansmission and distribution planning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utage planning and coordination 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ontingency planning </a:t>
            </a:r>
          </a:p>
          <a:p>
            <a:pPr marL="0" indent="0" algn="l" rtl="0" fontAlgn="base">
              <a:buNone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9514016-7732-3164-12D0-4B0185A6413F}"/>
              </a:ext>
            </a:extLst>
          </p:cNvPr>
          <p:cNvSpPr txBox="1">
            <a:spLocks/>
          </p:cNvSpPr>
          <p:nvPr/>
        </p:nvSpPr>
        <p:spPr>
          <a:xfrm>
            <a:off x="4735106" y="747460"/>
            <a:ext cx="7916087" cy="3391251"/>
          </a:xfrm>
          <a:prstGeom prst="rect">
            <a:avLst/>
          </a:prstGeom>
        </p:spPr>
        <p:txBody>
          <a:bodyPr vert="horz" lIns="18288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eneration interconnection studies  </a:t>
            </a: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perations decision making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n-wire alternatives 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e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aluation </a:t>
            </a:r>
          </a:p>
          <a:p>
            <a:pPr marL="0" indent="0" fontAlgn="base">
              <a:buNone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8AC18E-BFAB-AAF6-BE0B-4ACB74A594D6}"/>
              </a:ext>
            </a:extLst>
          </p:cNvPr>
          <p:cNvSpPr txBox="1"/>
          <p:nvPr/>
        </p:nvSpPr>
        <p:spPr>
          <a:xfrm>
            <a:off x="909931" y="4759419"/>
            <a:ext cx="19912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Sources available upon request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A14F8BF-1936-19B7-2C3F-DC51EA3EDE0C}"/>
              </a:ext>
            </a:extLst>
          </p:cNvPr>
          <p:cNvGraphicFramePr>
            <a:graphicFrameLocks noGrp="1"/>
          </p:cNvGraphicFramePr>
          <p:nvPr/>
        </p:nvGraphicFramePr>
        <p:xfrm>
          <a:off x="425059" y="2708183"/>
          <a:ext cx="7718161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7253">
                  <a:extLst>
                    <a:ext uri="{9D8B030D-6E8A-4147-A177-3AD203B41FA5}">
                      <a16:colId xmlns:a16="http://schemas.microsoft.com/office/drawing/2014/main" val="1546752181"/>
                    </a:ext>
                  </a:extLst>
                </a:gridCol>
                <a:gridCol w="3630908">
                  <a:extLst>
                    <a:ext uri="{9D8B030D-6E8A-4147-A177-3AD203B41FA5}">
                      <a16:colId xmlns:a16="http://schemas.microsoft.com/office/drawing/2014/main" val="31974368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 err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PowerFactory</a:t>
                      </a: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INTEGRAL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Organon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ASPEN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MATLAB®/Simulink®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PSCADTM/EMTDC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PSLF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PSS®E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RSCAD/RTDS 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TSAT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 err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PowerWorld</a:t>
                      </a: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base">
                        <a:buFont typeface="Arial" panose="020B0604020202020204" pitchFamily="34" charset="0"/>
                        <a:buNone/>
                      </a:pPr>
                      <a:r>
                        <a:rPr lang="en-US" sz="18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NEPLAN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492644"/>
                  </a:ext>
                </a:extLst>
              </a:tr>
            </a:tbl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AA1AE38-24B5-DFED-DCE3-64E2A60D003A}"/>
              </a:ext>
            </a:extLst>
          </p:cNvPr>
          <p:cNvSpPr txBox="1">
            <a:spLocks/>
          </p:cNvSpPr>
          <p:nvPr/>
        </p:nvSpPr>
        <p:spPr>
          <a:xfrm>
            <a:off x="334211" y="2113336"/>
            <a:ext cx="7899858" cy="4643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Verdan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/>
              <a:t>Advanced Power Flow Control models available:</a:t>
            </a:r>
          </a:p>
        </p:txBody>
      </p:sp>
    </p:spTree>
    <p:extLst>
      <p:ext uri="{BB962C8B-B14F-4D97-AF65-F5344CB8AC3E}">
        <p14:creationId xmlns:p14="http://schemas.microsoft.com/office/powerpoint/2010/main" val="30203579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8456C-A11F-3775-5940-88522A31E9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ther resources to check ou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9E30E9-1498-4447-B6FF-72BB8FEC80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371658-865B-FFA7-2CE0-8CE19A8B7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8890CC-3E22-676B-871A-060F81B35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628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77724-B1B3-CD9E-EEC6-9DA1DA0AB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readin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01357AB-674F-AE37-03F2-F57A841D013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  <a:hlinkClick r:id="rId2"/>
              </a:rPr>
              <a:t>Time Series Power Flow and Contingency Analysis with Weather Adjusted Line Ratings: A Synthetic WECC Case Study</a:t>
            </a:r>
            <a: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 by Hui Zhang, Natalie </a:t>
            </a:r>
            <a:r>
              <a:rPr lang="en-US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Diltz</a:t>
            </a:r>
            <a: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, </a:t>
            </a:r>
            <a:r>
              <a:rPr lang="en-US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Rajarshi</a:t>
            </a:r>
            <a: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 </a:t>
            </a:r>
            <a:r>
              <a:rPr lang="en-US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Roychowdhury</a:t>
            </a:r>
            <a: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Roboto" panose="02000000000000000000" pitchFamily="2" charset="0"/>
              </a:rPr>
              <a:t>, Xuan Wu – AES Corporation</a:t>
            </a:r>
          </a:p>
          <a:p>
            <a:pPr algn="l"/>
            <a:br>
              <a:rPr lang="en-US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var(--nova-font-family-sans-serif)"/>
              </a:rPr>
            </a:br>
            <a:endParaRPr lang="en-US" b="0" i="0" dirty="0">
              <a:solidFill>
                <a:srgbClr val="111111"/>
              </a:solidFill>
              <a:effectLst/>
              <a:highlight>
                <a:srgbClr val="FFFFFF"/>
              </a:highlight>
              <a:latin typeface="var(--nova-font-family-sans-serif)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DC522A-981D-A5BA-7B1F-A955968A3D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7" name="Picture 6" descr="A graph of a number of hours&#10;&#10;Description automatically generated with medium confidence">
            <a:extLst>
              <a:ext uri="{FF2B5EF4-FFF2-40B4-BE49-F238E27FC236}">
                <a16:creationId xmlns:a16="http://schemas.microsoft.com/office/drawing/2014/main" id="{D9C3A8B5-FC62-4294-F3B3-2D0104392B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365" y="1643296"/>
            <a:ext cx="6652398" cy="27574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68557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6650F-565D-3644-B095-1911F3B19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" y="205740"/>
            <a:ext cx="8135866" cy="53553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b="1" i="0" kern="1200" baseline="0" dirty="0">
                <a:latin typeface="+mj-lt"/>
                <a:ea typeface="+mj-ea"/>
                <a:cs typeface="Verdana"/>
              </a:rPr>
              <a:t>DLR capacity increases can be surprising!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5BCA453-A6D9-0919-7C7E-B4CAD6A72911}"/>
              </a:ext>
            </a:extLst>
          </p:cNvPr>
          <p:cNvSpPr txBox="1">
            <a:spLocks/>
          </p:cNvSpPr>
          <p:nvPr/>
        </p:nvSpPr>
        <p:spPr>
          <a:xfrm>
            <a:off x="660646" y="916279"/>
            <a:ext cx="7772400" cy="480060"/>
          </a:xfrm>
          <a:prstGeom prst="rect">
            <a:avLst/>
          </a:prstGeom>
        </p:spPr>
        <p:txBody>
          <a:bodyPr vert="horz" lIns="9144" tIns="45720" rIns="91440" bIns="45720" rtlCol="0" anchor="t" anchorCtr="0">
            <a:normAutofit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Verdan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 kern="1200" dirty="0">
                <a:solidFill>
                  <a:srgbClr val="818285"/>
                </a:solidFill>
                <a:latin typeface="+mj-lt"/>
                <a:ea typeface="+mn-ea"/>
                <a:cs typeface="Verdana"/>
              </a:rPr>
              <a:t>SUSQ-HARW DLR Simulation Data Vs Actual at Emergency Rating Temperature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kern="1200" dirty="0">
                <a:solidFill>
                  <a:srgbClr val="818285"/>
                </a:solidFill>
                <a:latin typeface="+mj-lt"/>
                <a:ea typeface="+mn-ea"/>
                <a:cs typeface="Verdana"/>
              </a:rPr>
              <a:t>(Winter Months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97B409-3666-E54C-2C26-2C2368C2150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57200" y="4767263"/>
            <a:ext cx="2133600" cy="2738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D7640A5-FB12-334C-A067-4A5A64E1E9FE}" type="slidenum">
              <a:rPr lang="en-US" smtClean="0"/>
              <a:pPr>
                <a:lnSpc>
                  <a:spcPct val="90000"/>
                </a:lnSpc>
                <a:spcAft>
                  <a:spcPts val="600"/>
                </a:spcAft>
              </a:pPr>
              <a:t>3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2510BA-7881-DF63-AF0D-F54DBBF9FA2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© 2017 WATT Coali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42298B7-634C-05F3-A060-0737435567A6}"/>
              </a:ext>
            </a:extLst>
          </p:cNvPr>
          <p:cNvGraphicFramePr>
            <a:graphicFrameLocks/>
          </p:cNvGraphicFramePr>
          <p:nvPr/>
        </p:nvGraphicFramePr>
        <p:xfrm>
          <a:off x="457200" y="1276800"/>
          <a:ext cx="7975846" cy="3249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1572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E7FDB9-EF84-3C83-F766-F81354AE7A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DBEA11-4941-11CC-31B5-6634FA982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48" y="380907"/>
            <a:ext cx="3483204" cy="341186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600" b="1" i="0" kern="1200" dirty="0">
                <a:latin typeface="+mj-lt"/>
                <a:ea typeface="+mj-ea"/>
                <a:cs typeface="Verdana"/>
              </a:rPr>
              <a:t>Examples of Grid Enhancing Technologies in Plan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62F396-1EBF-27DB-88A3-BA66357F6639}"/>
              </a:ext>
            </a:extLst>
          </p:cNvPr>
          <p:cNvSpPr txBox="1"/>
          <p:nvPr/>
        </p:nvSpPr>
        <p:spPr>
          <a:xfrm>
            <a:off x="695739" y="4579455"/>
            <a:ext cx="4479785" cy="1693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https://watt-</a:t>
            </a:r>
            <a:r>
              <a:rPr lang="en-US" sz="1200" dirty="0" err="1">
                <a:solidFill>
                  <a:schemeClr val="bg1"/>
                </a:solidFill>
              </a:rPr>
              <a:t>transmission.org</a:t>
            </a:r>
            <a:r>
              <a:rPr lang="en-US" sz="1200" dirty="0">
                <a:solidFill>
                  <a:schemeClr val="bg1"/>
                </a:solidFill>
              </a:rPr>
              <a:t>/wp-content/uploads/2023/04/Building-a-Better-Grid-How-Grid-Enhancing-Technologies-Complement-Transmission-Buildouts.pdf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E977A-664E-8E1C-F7CC-65E0B7D16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38469" y="4767263"/>
            <a:ext cx="2895600" cy="2738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dirty="0">
                <a:latin typeface="+mn-lt"/>
                <a:ea typeface="+mn-ea"/>
                <a:cs typeface="Verdana"/>
              </a:rPr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17BB93-BEA2-3941-025B-42AD4F0A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D7640A5-FB12-334C-A067-4A5A64E1E9FE}" type="slidenum">
              <a:rPr lang="en-US" smtClean="0"/>
              <a:pPr>
                <a:lnSpc>
                  <a:spcPct val="90000"/>
                </a:lnSpc>
                <a:spcAft>
                  <a:spcPts val="600"/>
                </a:spcAft>
              </a:pPr>
              <a:t>34</a:t>
            </a:fld>
            <a:endParaRPr lang="en-US"/>
          </a:p>
        </p:txBody>
      </p:sp>
      <p:pic>
        <p:nvPicPr>
          <p:cNvPr id="12" name="Picture 11" descr="A blue and white cover with solar panels&#10;&#10;Description automatically generated">
            <a:extLst>
              <a:ext uri="{FF2B5EF4-FFF2-40B4-BE49-F238E27FC236}">
                <a16:creationId xmlns:a16="http://schemas.microsoft.com/office/drawing/2014/main" id="{64DF4A7F-62FF-53A4-5965-C0A06DF9DA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0546" y="3277523"/>
            <a:ext cx="2292568" cy="12963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A cover of a book&#10;&#10;Description automatically generated">
            <a:extLst>
              <a:ext uri="{FF2B5EF4-FFF2-40B4-BE49-F238E27FC236}">
                <a16:creationId xmlns:a16="http://schemas.microsoft.com/office/drawing/2014/main" id="{130B9A42-F565-7960-E16E-42A497F2D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0635" y="44674"/>
            <a:ext cx="2449777" cy="31751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A cover of a book&#10;&#10;Description automatically generated">
            <a:extLst>
              <a:ext uri="{FF2B5EF4-FFF2-40B4-BE49-F238E27FC236}">
                <a16:creationId xmlns:a16="http://schemas.microsoft.com/office/drawing/2014/main" id="{CA45CE8F-B4B7-B587-EEB5-DDC407382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2422" y="905289"/>
            <a:ext cx="2181524" cy="28874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09991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73D68-99A6-9A3F-10EE-4E1476CA0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rder No. 1920 on Transmission Technologies </a:t>
            </a:r>
            <a:r>
              <a:rPr lang="en-US" sz="1200" dirty="0"/>
              <a:t>(see pages 845-848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D5A28-0F52-3762-9EC5-F7641B69EF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quire transmission providers in each transmission planning region to consider </a:t>
            </a:r>
          </a:p>
          <a:p>
            <a:pPr lvl="1"/>
            <a:r>
              <a:rPr lang="en-US" dirty="0"/>
              <a:t>dynamic line ratings</a:t>
            </a:r>
          </a:p>
          <a:p>
            <a:pPr lvl="1"/>
            <a:r>
              <a:rPr lang="en-US" dirty="0"/>
              <a:t>advanced power flow control devices</a:t>
            </a:r>
          </a:p>
          <a:p>
            <a:pPr lvl="1"/>
            <a:r>
              <a:rPr lang="en-US" dirty="0"/>
              <a:t>advanced conductors </a:t>
            </a:r>
          </a:p>
          <a:p>
            <a:pPr lvl="1"/>
            <a:r>
              <a:rPr lang="en-US" dirty="0"/>
              <a:t>and transmission switching </a:t>
            </a:r>
          </a:p>
          <a:p>
            <a:pPr marL="457200" lvl="1" indent="0">
              <a:buNone/>
            </a:pPr>
            <a:r>
              <a:rPr lang="en-US" dirty="0"/>
              <a:t>for each identified transmission need, in long-term regional planning and Order 1000 process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DC9A5F-7CFE-C592-2455-37BF0801C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D9D3BD-1E65-6D61-852A-3F9003379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431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9FD49-1B5A-655B-30DF-EDCDE0A09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from Order No. 192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3FAA64-9955-2F40-DCA0-A7CA88E92E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r new facilities and upgrades</a:t>
            </a:r>
            <a:endParaRPr lang="en-US" baseline="30000" dirty="0"/>
          </a:p>
          <a:p>
            <a:r>
              <a:rPr lang="en-US" dirty="0"/>
              <a:t>Evaluate whether ATTs alone or with other upgrades “would be more efficient or cost-effective than selecting new regional transmission facilities or upgrades to existing transmission facilities that do not incorporate these technologies.”</a:t>
            </a:r>
          </a:p>
          <a:p>
            <a:r>
              <a:rPr lang="en-US" dirty="0"/>
              <a:t>Evaluate against all required benefits and standard selection criteria, and follow Good Utility Practice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74F91C-F603-3F45-754E-B8A278347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WATT Coal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15139B-1ACA-AB56-C526-D7B5146DC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23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EBB86-4561-5201-5FEF-93465E768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Grid Enhancing Technologie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363E79-EA4A-006E-D2DC-EDDB3F4CEC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442655"/>
            <a:ext cx="2551748" cy="321759"/>
          </a:xfrm>
        </p:spPr>
        <p:txBody>
          <a:bodyPr/>
          <a:lstStyle/>
          <a:p>
            <a:r>
              <a:rPr lang="en-US" dirty="0"/>
              <a:t>Dynamic Line Rating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ACE8C-0E51-9FFD-EA5C-C1100FEDE9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199" y="1815790"/>
            <a:ext cx="2551748" cy="2195571"/>
          </a:xfrm>
        </p:spPr>
        <p:txBody>
          <a:bodyPr/>
          <a:lstStyle/>
          <a:p>
            <a:r>
              <a:rPr lang="en-US" dirty="0"/>
              <a:t>Dynamic Line Ratings (DLRs) measure and calculate the true carrying capacity of transmission lines – often finding 20% or more capacity than assumed. 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590907-AA43-A4E4-B309-D998FAF89B3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135051" y="1442655"/>
            <a:ext cx="2551748" cy="321759"/>
          </a:xfrm>
        </p:spPr>
        <p:txBody>
          <a:bodyPr/>
          <a:lstStyle/>
          <a:p>
            <a:r>
              <a:rPr lang="en-US"/>
              <a:t>Topology Optimiz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A9FDF7-884C-FF2F-A9CC-85440B1DD42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135051" y="1815790"/>
            <a:ext cx="2551748" cy="2195571"/>
          </a:xfrm>
        </p:spPr>
        <p:txBody>
          <a:bodyPr/>
          <a:lstStyle/>
          <a:p>
            <a:r>
              <a:rPr lang="en-US" dirty="0"/>
              <a:t>Topology Optimization is software that finds the best use of grid infrastructure to redistribute power and unlock more capacity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B765B4-7032-2244-A000-737D9877F73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296125" y="1442655"/>
            <a:ext cx="2551748" cy="321759"/>
          </a:xfrm>
        </p:spPr>
        <p:txBody>
          <a:bodyPr/>
          <a:lstStyle/>
          <a:p>
            <a:r>
              <a:rPr lang="en-US" dirty="0"/>
              <a:t>Advanced Power Flow Contro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CF6CBC-B189-4B69-59B9-81BFD08BFD6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296125" y="1815790"/>
            <a:ext cx="2551748" cy="2195571"/>
          </a:xfrm>
        </p:spPr>
        <p:txBody>
          <a:bodyPr/>
          <a:lstStyle/>
          <a:p>
            <a:r>
              <a:rPr lang="en-US" dirty="0"/>
              <a:t>Advanced Power Flow Control redirects power to lines with extra capacity, preventing overloads and balancing the use of the grid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653D8E-FCCF-E937-5FBC-47893D730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ECDB2-12C2-4AFA-BC91-6BA99646959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2" name="Picture 11" descr="A diagram of a power line&#10;&#10;Description automatically generated">
            <a:extLst>
              <a:ext uri="{FF2B5EF4-FFF2-40B4-BE49-F238E27FC236}">
                <a16:creationId xmlns:a16="http://schemas.microsoft.com/office/drawing/2014/main" id="{C6A5F5DE-38F8-96D8-D5A1-E987D0E2CF3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102" r="-199" b="2079"/>
          <a:stretch/>
        </p:blipFill>
        <p:spPr>
          <a:xfrm>
            <a:off x="569422" y="2898152"/>
            <a:ext cx="2455431" cy="1282513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CB57679D-B15B-CE25-B214-61340EB47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4758" y="2898152"/>
            <a:ext cx="2694484" cy="1282513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4" name="Picture 13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FD6C9B21-ECCB-664B-D87C-1D6158E7B8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9146" y="2898152"/>
            <a:ext cx="2679877" cy="1282513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19171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29BD81-5BD8-8D97-5FFE-F45D3DF4B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6429B3-B9A2-21E4-9A43-4D8087B844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1101" y="192880"/>
            <a:ext cx="5674757" cy="1316831"/>
          </a:xfrm>
        </p:spPr>
        <p:txBody>
          <a:bodyPr/>
          <a:lstStyle/>
          <a:p>
            <a:r>
              <a:rPr lang="en-US" dirty="0"/>
              <a:t>Why do we need GETs ASAP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B85588-6D47-D796-72CF-0957107EE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7 WATT Coal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02C3D3-D7A6-B855-6978-C3119FB02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t>7</a:t>
            </a:fld>
            <a:endParaRPr lang="en-US"/>
          </a:p>
        </p:txBody>
      </p:sp>
      <p:pic>
        <p:nvPicPr>
          <p:cNvPr id="5" name="Picture 4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8CE585C2-7DF7-1B35-E62E-0E71A2592C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9747" y="1509711"/>
            <a:ext cx="5597467" cy="25092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1932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4B237E-A95C-DFE6-F4E4-8734A4B9AC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A5A26-32D5-440F-599F-387ADBA78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" y="205740"/>
            <a:ext cx="8395970" cy="53553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enefits of Grid Enhancing Technologies (GET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40DAB9-BF8D-A44D-8E17-FDC369242F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9224"/>
            <a:ext cx="8119533" cy="3621275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059"/>
              </a:spcBef>
              <a:buNone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Cost Savings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Decrease congestion/redispatch costs by ~40%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Resolve constraints for 1/20-1/200</a:t>
            </a:r>
            <a:r>
              <a:rPr lang="en-US" sz="1600" baseline="30000" dirty="0">
                <a:solidFill>
                  <a:schemeClr val="tx1">
                    <a:lumMod val="50000"/>
                  </a:schemeClr>
                </a:solidFill>
              </a:rPr>
              <a:t>th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the cost of traditional upgrades 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ncrease transmission capacity by 20%+ over 90% of the time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Enable cheaper generation/load interconnection</a:t>
            </a:r>
          </a:p>
          <a:p>
            <a:pPr marL="0" indent="0">
              <a:spcBef>
                <a:spcPts val="1059"/>
              </a:spcBef>
              <a:buNone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Faster grid capacity for load and generation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Brattle study showed GETs could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2"/>
              </a:rPr>
              <a:t>double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capacity for new generation, without new lines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GETs deploy in months</a:t>
            </a:r>
          </a:p>
          <a:p>
            <a:pPr marL="0" indent="0">
              <a:spcBef>
                <a:spcPts val="1059"/>
              </a:spcBef>
              <a:buNone/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Reliability through flexibility and awareness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Data-driven decisions, real-time visibility, and enhanced control over the system support reliable grid operation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Extreme weather can put system at risk without monitoring and control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DLR devices can monitor for wildfire risk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15B8E7-E411-90BA-A700-B1207EFAD6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338469" y="4767263"/>
            <a:ext cx="2895600" cy="273844"/>
          </a:xfrm>
        </p:spPr>
        <p:txBody>
          <a:bodyPr/>
          <a:lstStyle/>
          <a:p>
            <a:r>
              <a:rPr lang="en-US" dirty="0"/>
              <a:t>© 2023 WATT Coali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65A3BA-137A-7639-9308-5995EC8207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7640A5-FB12-334C-A067-4A5A64E1E9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6935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3F229F-8BE8-3D4B-FF0C-91E455DE5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293CC2-1971-1356-EC28-46E779814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ECDB2-12C2-4AFA-BC91-6BA99646959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CEEC32-A3A1-C736-404F-DF0A14AE0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57200" y="229674"/>
            <a:ext cx="8884508" cy="858837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r>
              <a:rPr lang="en-US" dirty="0">
                <a:solidFill>
                  <a:srgbClr val="0070C0"/>
                </a:solidFill>
                <a:ea typeface="Roboto Black"/>
                <a:cs typeface="Roboto Black"/>
              </a:rPr>
              <a:t>Growing generator interconnection queu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C8058C1-EF91-DCA7-2591-4A1929581919}"/>
              </a:ext>
            </a:extLst>
          </p:cNvPr>
          <p:cNvSpPr txBox="1">
            <a:spLocks/>
          </p:cNvSpPr>
          <p:nvPr/>
        </p:nvSpPr>
        <p:spPr>
          <a:xfrm>
            <a:off x="5120515" y="2666707"/>
            <a:ext cx="1793303" cy="86584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>
                <a:solidFill>
                  <a:srgbClr val="FFFFFF"/>
                </a:solidFill>
                <a:ea typeface="Roboto Black"/>
                <a:cs typeface="Roboto Black"/>
              </a:rPr>
              <a:t>Congestion</a:t>
            </a:r>
          </a:p>
        </p:txBody>
      </p:sp>
      <p:pic>
        <p:nvPicPr>
          <p:cNvPr id="13" name="Picture 12" descr="A blue and white table with numbers and text&#10;&#10;Description automatically generated">
            <a:extLst>
              <a:ext uri="{FF2B5EF4-FFF2-40B4-BE49-F238E27FC236}">
                <a16:creationId xmlns:a16="http://schemas.microsoft.com/office/drawing/2014/main" id="{54B00FE8-0413-C238-882E-F05D71ED4C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7274"/>
            <a:ext cx="9144000" cy="3966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50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Office Theme">
  <a:themeElements>
    <a:clrScheme name="WATT">
      <a:dk1>
        <a:srgbClr val="444444"/>
      </a:dk1>
      <a:lt1>
        <a:sysClr val="window" lastClr="FFFFFF"/>
      </a:lt1>
      <a:dk2>
        <a:srgbClr val="272352"/>
      </a:dk2>
      <a:lt2>
        <a:srgbClr val="52B1F9"/>
      </a:lt2>
      <a:accent1>
        <a:srgbClr val="0D72B9"/>
      </a:accent1>
      <a:accent2>
        <a:srgbClr val="3CB54A"/>
      </a:accent2>
      <a:accent3>
        <a:srgbClr val="FF5E40"/>
      </a:accent3>
      <a:accent4>
        <a:srgbClr val="66CBE4"/>
      </a:accent4>
      <a:accent5>
        <a:srgbClr val="797979"/>
      </a:accent5>
      <a:accent6>
        <a:srgbClr val="272361"/>
      </a:accent6>
      <a:hlink>
        <a:srgbClr val="004DBD"/>
      </a:hlink>
      <a:folHlink>
        <a:srgbClr val="3EBBF0"/>
      </a:folHlink>
    </a:clrScheme>
    <a:fontScheme name="Pixel">
      <a:majorFont>
        <a:latin typeface="Corbel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orbel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T-Template</Template>
  <TotalTime>7406</TotalTime>
  <Words>1653</Words>
  <Application>Microsoft Office PowerPoint</Application>
  <PresentationFormat>On-screen Show (16:9)</PresentationFormat>
  <Paragraphs>249</Paragraphs>
  <Slides>3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4" baseType="lpstr">
      <vt:lpstr>Aptos</vt:lpstr>
      <vt:lpstr>Arial</vt:lpstr>
      <vt:lpstr>Calibri</vt:lpstr>
      <vt:lpstr>Corbel</vt:lpstr>
      <vt:lpstr>Georgia</vt:lpstr>
      <vt:lpstr>Roboto</vt:lpstr>
      <vt:lpstr>Roboto Black</vt:lpstr>
      <vt:lpstr>Roboto Light</vt:lpstr>
      <vt:lpstr>var(--nova-font-family-sans-serif)</vt:lpstr>
      <vt:lpstr>Office Theme</vt:lpstr>
      <vt:lpstr>  Grid Enhancing Technologies  Julia Selker, Executive Director, WATT Coalition October 2024</vt:lpstr>
      <vt:lpstr>Agenda</vt:lpstr>
      <vt:lpstr>Grid Enhancing Technologies:  hardware, software, or both that dynamically increase the capacity, efficiency, reliability or safety of power lines, faster and at lower cost than traditional grid infrastructure.</vt:lpstr>
      <vt:lpstr>Order No. 1920 on Transmission Technologies (see pages 845-848)</vt:lpstr>
      <vt:lpstr>More from Order No. 1920</vt:lpstr>
      <vt:lpstr>What are Grid Enhancing Technologies?</vt:lpstr>
      <vt:lpstr>Why do we need GETs ASAP?</vt:lpstr>
      <vt:lpstr>Benefits of Grid Enhancing Technologies (GETs)</vt:lpstr>
      <vt:lpstr>Growing generator interconnection queues</vt:lpstr>
      <vt:lpstr>Today’s grid is inefficient  because it is underutilized.  An interconnection study showed a 3% line overload in high wind scenarios, requiring a $50 million rebuild – DLR was not considered.   </vt:lpstr>
      <vt:lpstr>PowerPoint Presentation</vt:lpstr>
      <vt:lpstr>PowerPoint Presentation</vt:lpstr>
      <vt:lpstr>PowerPoint Presentation</vt:lpstr>
      <vt:lpstr>Transmission expansion paves the road to the future</vt:lpstr>
      <vt:lpstr>Adoption in the US – many pilots, few in operations</vt:lpstr>
      <vt:lpstr>Barriers for GETs: Institutional Inertia + Incentives</vt:lpstr>
      <vt:lpstr>Policy for GETs</vt:lpstr>
      <vt:lpstr>State regulation and legislation</vt:lpstr>
      <vt:lpstr>Federal policy</vt:lpstr>
      <vt:lpstr>Pending federal action</vt:lpstr>
      <vt:lpstr>Working for Advanced Transmission Technologies</vt:lpstr>
      <vt:lpstr>Appendices</vt:lpstr>
      <vt:lpstr>Dynamic Line Ratings</vt:lpstr>
      <vt:lpstr>Advanced Power Flow Control</vt:lpstr>
      <vt:lpstr>Topology Optimization</vt:lpstr>
      <vt:lpstr>Considerations for GETs in transmission planning</vt:lpstr>
      <vt:lpstr>Advanced Power Flow Control</vt:lpstr>
      <vt:lpstr>Dynamic Line Ratings</vt:lpstr>
      <vt:lpstr>Topology Optimization</vt:lpstr>
      <vt:lpstr>Applications of GETs </vt:lpstr>
      <vt:lpstr>Other resources to check out</vt:lpstr>
      <vt:lpstr>Recommended reading</vt:lpstr>
      <vt:lpstr>DLR capacity increases can be surprising!</vt:lpstr>
      <vt:lpstr>Examples of Grid Enhancing Technologies in Planning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dd Ryan</dc:creator>
  <cp:lastModifiedBy>Lisa Fredley</cp:lastModifiedBy>
  <cp:revision>161</cp:revision>
  <cp:lastPrinted>2020-01-22T20:24:21Z</cp:lastPrinted>
  <dcterms:created xsi:type="dcterms:W3CDTF">2017-11-06T17:59:51Z</dcterms:created>
  <dcterms:modified xsi:type="dcterms:W3CDTF">2024-10-28T14:30:19Z</dcterms:modified>
</cp:coreProperties>
</file>